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61" r:id="rId2"/>
  </p:sldIdLst>
  <p:sldSz cx="27635200" cy="155448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944" userDrawn="1">
          <p15:clr>
            <a:srgbClr val="A4A3A4"/>
          </p15:clr>
        </p15:guide>
        <p15:guide id="2" pos="87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CC"/>
    <a:srgbClr val="5C5C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32" d="100"/>
          <a:sy n="32" d="100"/>
        </p:scale>
        <p:origin x="90" y="540"/>
      </p:cViewPr>
      <p:guideLst>
        <p:guide orient="horz" pos="4944"/>
        <p:guide pos="87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4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54400" y="2544023"/>
            <a:ext cx="20726400" cy="5411893"/>
          </a:xfrm>
        </p:spPr>
        <p:txBody>
          <a:bodyPr anchor="b"/>
          <a:lstStyle>
            <a:lvl1pPr algn="ctr">
              <a:defRPr sz="1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54400" y="8164619"/>
            <a:ext cx="20726400" cy="3753061"/>
          </a:xfrm>
        </p:spPr>
        <p:txBody>
          <a:bodyPr/>
          <a:lstStyle>
            <a:lvl1pPr marL="0" indent="0" algn="ctr">
              <a:buNone/>
              <a:defRPr sz="5440"/>
            </a:lvl1pPr>
            <a:lvl2pPr marL="1036335" indent="0" algn="ctr">
              <a:buNone/>
              <a:defRPr sz="4533"/>
            </a:lvl2pPr>
            <a:lvl3pPr marL="2072670" indent="0" algn="ctr">
              <a:buNone/>
              <a:defRPr sz="4080"/>
            </a:lvl3pPr>
            <a:lvl4pPr marL="3109006" indent="0" algn="ctr">
              <a:buNone/>
              <a:defRPr sz="3627"/>
            </a:lvl4pPr>
            <a:lvl5pPr marL="4145341" indent="0" algn="ctr">
              <a:buNone/>
              <a:defRPr sz="3627"/>
            </a:lvl5pPr>
            <a:lvl6pPr marL="5181676" indent="0" algn="ctr">
              <a:buNone/>
              <a:defRPr sz="3627"/>
            </a:lvl6pPr>
            <a:lvl7pPr marL="6218011" indent="0" algn="ctr">
              <a:buNone/>
              <a:defRPr sz="3627"/>
            </a:lvl7pPr>
            <a:lvl8pPr marL="7254347" indent="0" algn="ctr">
              <a:buNone/>
              <a:defRPr sz="3627"/>
            </a:lvl8pPr>
            <a:lvl9pPr marL="8290682" indent="0" algn="ctr">
              <a:buNone/>
              <a:defRPr sz="3627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E5150-D69F-4585-A94D-75DEDF06795D}" type="datetimeFigureOut">
              <a:rPr lang="en-US" smtClean="0"/>
              <a:t>11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232326-F7EE-4BE0-ACFD-C761C1AA0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5012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E5150-D69F-4585-A94D-75DEDF06795D}" type="datetimeFigureOut">
              <a:rPr lang="en-US" smtClean="0"/>
              <a:t>11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232326-F7EE-4BE0-ACFD-C761C1AA0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168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9776440" y="827617"/>
            <a:ext cx="5958840" cy="1317349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899920" y="827617"/>
            <a:ext cx="17531080" cy="1317349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E5150-D69F-4585-A94D-75DEDF06795D}" type="datetimeFigureOut">
              <a:rPr lang="en-US" smtClean="0"/>
              <a:t>11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232326-F7EE-4BE0-ACFD-C761C1AA0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7022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E5150-D69F-4585-A94D-75DEDF06795D}" type="datetimeFigureOut">
              <a:rPr lang="en-US" smtClean="0"/>
              <a:t>11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232326-F7EE-4BE0-ACFD-C761C1AA0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8956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5527" y="3875407"/>
            <a:ext cx="23835360" cy="6466204"/>
          </a:xfrm>
        </p:spPr>
        <p:txBody>
          <a:bodyPr anchor="b"/>
          <a:lstStyle>
            <a:lvl1pPr>
              <a:defRPr sz="1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85527" y="10402784"/>
            <a:ext cx="23835360" cy="3400424"/>
          </a:xfrm>
        </p:spPr>
        <p:txBody>
          <a:bodyPr/>
          <a:lstStyle>
            <a:lvl1pPr marL="0" indent="0">
              <a:buNone/>
              <a:defRPr sz="5440">
                <a:solidFill>
                  <a:schemeClr val="tx1">
                    <a:tint val="75000"/>
                  </a:schemeClr>
                </a:solidFill>
              </a:defRPr>
            </a:lvl1pPr>
            <a:lvl2pPr marL="1036335" indent="0">
              <a:buNone/>
              <a:defRPr sz="4533">
                <a:solidFill>
                  <a:schemeClr val="tx1">
                    <a:tint val="75000"/>
                  </a:schemeClr>
                </a:solidFill>
              </a:defRPr>
            </a:lvl2pPr>
            <a:lvl3pPr marL="2072670" indent="0">
              <a:buNone/>
              <a:defRPr sz="4080">
                <a:solidFill>
                  <a:schemeClr val="tx1">
                    <a:tint val="75000"/>
                  </a:schemeClr>
                </a:solidFill>
              </a:defRPr>
            </a:lvl3pPr>
            <a:lvl4pPr marL="3109006" indent="0">
              <a:buNone/>
              <a:defRPr sz="3627">
                <a:solidFill>
                  <a:schemeClr val="tx1">
                    <a:tint val="75000"/>
                  </a:schemeClr>
                </a:solidFill>
              </a:defRPr>
            </a:lvl4pPr>
            <a:lvl5pPr marL="4145341" indent="0">
              <a:buNone/>
              <a:defRPr sz="3627">
                <a:solidFill>
                  <a:schemeClr val="tx1">
                    <a:tint val="75000"/>
                  </a:schemeClr>
                </a:solidFill>
              </a:defRPr>
            </a:lvl5pPr>
            <a:lvl6pPr marL="5181676" indent="0">
              <a:buNone/>
              <a:defRPr sz="3627">
                <a:solidFill>
                  <a:schemeClr val="tx1">
                    <a:tint val="75000"/>
                  </a:schemeClr>
                </a:solidFill>
              </a:defRPr>
            </a:lvl6pPr>
            <a:lvl7pPr marL="6218011" indent="0">
              <a:buNone/>
              <a:defRPr sz="3627">
                <a:solidFill>
                  <a:schemeClr val="tx1">
                    <a:tint val="75000"/>
                  </a:schemeClr>
                </a:solidFill>
              </a:defRPr>
            </a:lvl7pPr>
            <a:lvl8pPr marL="7254347" indent="0">
              <a:buNone/>
              <a:defRPr sz="3627">
                <a:solidFill>
                  <a:schemeClr val="tx1">
                    <a:tint val="75000"/>
                  </a:schemeClr>
                </a:solidFill>
              </a:defRPr>
            </a:lvl8pPr>
            <a:lvl9pPr marL="8290682" indent="0">
              <a:buNone/>
              <a:defRPr sz="362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E5150-D69F-4585-A94D-75DEDF06795D}" type="datetimeFigureOut">
              <a:rPr lang="en-US" smtClean="0"/>
              <a:t>11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232326-F7EE-4BE0-ACFD-C761C1AA0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847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99920" y="4138083"/>
            <a:ext cx="11744960" cy="98630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990320" y="4138083"/>
            <a:ext cx="11744960" cy="98630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E5150-D69F-4585-A94D-75DEDF06795D}" type="datetimeFigureOut">
              <a:rPr lang="en-US" smtClean="0"/>
              <a:t>11/3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232326-F7EE-4BE0-ACFD-C761C1AA0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0949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3519" y="827618"/>
            <a:ext cx="23835360" cy="30046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03521" y="3810636"/>
            <a:ext cx="11690984" cy="1867534"/>
          </a:xfrm>
        </p:spPr>
        <p:txBody>
          <a:bodyPr anchor="b"/>
          <a:lstStyle>
            <a:lvl1pPr marL="0" indent="0">
              <a:buNone/>
              <a:defRPr sz="5440" b="1"/>
            </a:lvl1pPr>
            <a:lvl2pPr marL="1036335" indent="0">
              <a:buNone/>
              <a:defRPr sz="4533" b="1"/>
            </a:lvl2pPr>
            <a:lvl3pPr marL="2072670" indent="0">
              <a:buNone/>
              <a:defRPr sz="4080" b="1"/>
            </a:lvl3pPr>
            <a:lvl4pPr marL="3109006" indent="0">
              <a:buNone/>
              <a:defRPr sz="3627" b="1"/>
            </a:lvl4pPr>
            <a:lvl5pPr marL="4145341" indent="0">
              <a:buNone/>
              <a:defRPr sz="3627" b="1"/>
            </a:lvl5pPr>
            <a:lvl6pPr marL="5181676" indent="0">
              <a:buNone/>
              <a:defRPr sz="3627" b="1"/>
            </a:lvl6pPr>
            <a:lvl7pPr marL="6218011" indent="0">
              <a:buNone/>
              <a:defRPr sz="3627" b="1"/>
            </a:lvl7pPr>
            <a:lvl8pPr marL="7254347" indent="0">
              <a:buNone/>
              <a:defRPr sz="3627" b="1"/>
            </a:lvl8pPr>
            <a:lvl9pPr marL="8290682" indent="0">
              <a:buNone/>
              <a:defRPr sz="3627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903521" y="5678170"/>
            <a:ext cx="11690984" cy="83517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3990320" y="3810636"/>
            <a:ext cx="11748559" cy="1867534"/>
          </a:xfrm>
        </p:spPr>
        <p:txBody>
          <a:bodyPr anchor="b"/>
          <a:lstStyle>
            <a:lvl1pPr marL="0" indent="0">
              <a:buNone/>
              <a:defRPr sz="5440" b="1"/>
            </a:lvl1pPr>
            <a:lvl2pPr marL="1036335" indent="0">
              <a:buNone/>
              <a:defRPr sz="4533" b="1"/>
            </a:lvl2pPr>
            <a:lvl3pPr marL="2072670" indent="0">
              <a:buNone/>
              <a:defRPr sz="4080" b="1"/>
            </a:lvl3pPr>
            <a:lvl4pPr marL="3109006" indent="0">
              <a:buNone/>
              <a:defRPr sz="3627" b="1"/>
            </a:lvl4pPr>
            <a:lvl5pPr marL="4145341" indent="0">
              <a:buNone/>
              <a:defRPr sz="3627" b="1"/>
            </a:lvl5pPr>
            <a:lvl6pPr marL="5181676" indent="0">
              <a:buNone/>
              <a:defRPr sz="3627" b="1"/>
            </a:lvl6pPr>
            <a:lvl7pPr marL="6218011" indent="0">
              <a:buNone/>
              <a:defRPr sz="3627" b="1"/>
            </a:lvl7pPr>
            <a:lvl8pPr marL="7254347" indent="0">
              <a:buNone/>
              <a:defRPr sz="3627" b="1"/>
            </a:lvl8pPr>
            <a:lvl9pPr marL="8290682" indent="0">
              <a:buNone/>
              <a:defRPr sz="3627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3990320" y="5678170"/>
            <a:ext cx="11748559" cy="83517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E5150-D69F-4585-A94D-75DEDF06795D}" type="datetimeFigureOut">
              <a:rPr lang="en-US" smtClean="0"/>
              <a:t>11/30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232326-F7EE-4BE0-ACFD-C761C1AA0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360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E5150-D69F-4585-A94D-75DEDF06795D}" type="datetimeFigureOut">
              <a:rPr lang="en-US" smtClean="0"/>
              <a:t>11/3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232326-F7EE-4BE0-ACFD-C761C1AA0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623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E5150-D69F-4585-A94D-75DEDF06795D}" type="datetimeFigureOut">
              <a:rPr lang="en-US" smtClean="0"/>
              <a:t>11/30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232326-F7EE-4BE0-ACFD-C761C1AA0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2304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3520" y="1036320"/>
            <a:ext cx="8913071" cy="3627120"/>
          </a:xfrm>
        </p:spPr>
        <p:txBody>
          <a:bodyPr anchor="b"/>
          <a:lstStyle>
            <a:lvl1pPr>
              <a:defRPr sz="7253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748559" y="2238165"/>
            <a:ext cx="13990320" cy="11046883"/>
          </a:xfrm>
        </p:spPr>
        <p:txBody>
          <a:bodyPr/>
          <a:lstStyle>
            <a:lvl1pPr>
              <a:defRPr sz="7253"/>
            </a:lvl1pPr>
            <a:lvl2pPr>
              <a:defRPr sz="6347"/>
            </a:lvl2pPr>
            <a:lvl3pPr>
              <a:defRPr sz="5440"/>
            </a:lvl3pPr>
            <a:lvl4pPr>
              <a:defRPr sz="4533"/>
            </a:lvl4pPr>
            <a:lvl5pPr>
              <a:defRPr sz="4533"/>
            </a:lvl5pPr>
            <a:lvl6pPr>
              <a:defRPr sz="4533"/>
            </a:lvl6pPr>
            <a:lvl7pPr>
              <a:defRPr sz="4533"/>
            </a:lvl7pPr>
            <a:lvl8pPr>
              <a:defRPr sz="4533"/>
            </a:lvl8pPr>
            <a:lvl9pPr>
              <a:defRPr sz="453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3520" y="4663440"/>
            <a:ext cx="8913071" cy="8639599"/>
          </a:xfrm>
        </p:spPr>
        <p:txBody>
          <a:bodyPr/>
          <a:lstStyle>
            <a:lvl1pPr marL="0" indent="0">
              <a:buNone/>
              <a:defRPr sz="3627"/>
            </a:lvl1pPr>
            <a:lvl2pPr marL="1036335" indent="0">
              <a:buNone/>
              <a:defRPr sz="3173"/>
            </a:lvl2pPr>
            <a:lvl3pPr marL="2072670" indent="0">
              <a:buNone/>
              <a:defRPr sz="2720"/>
            </a:lvl3pPr>
            <a:lvl4pPr marL="3109006" indent="0">
              <a:buNone/>
              <a:defRPr sz="2267"/>
            </a:lvl4pPr>
            <a:lvl5pPr marL="4145341" indent="0">
              <a:buNone/>
              <a:defRPr sz="2267"/>
            </a:lvl5pPr>
            <a:lvl6pPr marL="5181676" indent="0">
              <a:buNone/>
              <a:defRPr sz="2267"/>
            </a:lvl6pPr>
            <a:lvl7pPr marL="6218011" indent="0">
              <a:buNone/>
              <a:defRPr sz="2267"/>
            </a:lvl7pPr>
            <a:lvl8pPr marL="7254347" indent="0">
              <a:buNone/>
              <a:defRPr sz="2267"/>
            </a:lvl8pPr>
            <a:lvl9pPr marL="8290682" indent="0">
              <a:buNone/>
              <a:defRPr sz="2267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E5150-D69F-4585-A94D-75DEDF06795D}" type="datetimeFigureOut">
              <a:rPr lang="en-US" smtClean="0"/>
              <a:t>11/3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232326-F7EE-4BE0-ACFD-C761C1AA0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8098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3520" y="1036320"/>
            <a:ext cx="8913071" cy="3627120"/>
          </a:xfrm>
        </p:spPr>
        <p:txBody>
          <a:bodyPr anchor="b"/>
          <a:lstStyle>
            <a:lvl1pPr>
              <a:defRPr sz="7253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748559" y="2238165"/>
            <a:ext cx="13990320" cy="11046883"/>
          </a:xfrm>
        </p:spPr>
        <p:txBody>
          <a:bodyPr anchor="t"/>
          <a:lstStyle>
            <a:lvl1pPr marL="0" indent="0">
              <a:buNone/>
              <a:defRPr sz="7253"/>
            </a:lvl1pPr>
            <a:lvl2pPr marL="1036335" indent="0">
              <a:buNone/>
              <a:defRPr sz="6347"/>
            </a:lvl2pPr>
            <a:lvl3pPr marL="2072670" indent="0">
              <a:buNone/>
              <a:defRPr sz="5440"/>
            </a:lvl3pPr>
            <a:lvl4pPr marL="3109006" indent="0">
              <a:buNone/>
              <a:defRPr sz="4533"/>
            </a:lvl4pPr>
            <a:lvl5pPr marL="4145341" indent="0">
              <a:buNone/>
              <a:defRPr sz="4533"/>
            </a:lvl5pPr>
            <a:lvl6pPr marL="5181676" indent="0">
              <a:buNone/>
              <a:defRPr sz="4533"/>
            </a:lvl6pPr>
            <a:lvl7pPr marL="6218011" indent="0">
              <a:buNone/>
              <a:defRPr sz="4533"/>
            </a:lvl7pPr>
            <a:lvl8pPr marL="7254347" indent="0">
              <a:buNone/>
              <a:defRPr sz="4533"/>
            </a:lvl8pPr>
            <a:lvl9pPr marL="8290682" indent="0">
              <a:buNone/>
              <a:defRPr sz="4533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3520" y="4663440"/>
            <a:ext cx="8913071" cy="8639599"/>
          </a:xfrm>
        </p:spPr>
        <p:txBody>
          <a:bodyPr/>
          <a:lstStyle>
            <a:lvl1pPr marL="0" indent="0">
              <a:buNone/>
              <a:defRPr sz="3627"/>
            </a:lvl1pPr>
            <a:lvl2pPr marL="1036335" indent="0">
              <a:buNone/>
              <a:defRPr sz="3173"/>
            </a:lvl2pPr>
            <a:lvl3pPr marL="2072670" indent="0">
              <a:buNone/>
              <a:defRPr sz="2720"/>
            </a:lvl3pPr>
            <a:lvl4pPr marL="3109006" indent="0">
              <a:buNone/>
              <a:defRPr sz="2267"/>
            </a:lvl4pPr>
            <a:lvl5pPr marL="4145341" indent="0">
              <a:buNone/>
              <a:defRPr sz="2267"/>
            </a:lvl5pPr>
            <a:lvl6pPr marL="5181676" indent="0">
              <a:buNone/>
              <a:defRPr sz="2267"/>
            </a:lvl6pPr>
            <a:lvl7pPr marL="6218011" indent="0">
              <a:buNone/>
              <a:defRPr sz="2267"/>
            </a:lvl7pPr>
            <a:lvl8pPr marL="7254347" indent="0">
              <a:buNone/>
              <a:defRPr sz="2267"/>
            </a:lvl8pPr>
            <a:lvl9pPr marL="8290682" indent="0">
              <a:buNone/>
              <a:defRPr sz="2267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E5150-D69F-4585-A94D-75DEDF06795D}" type="datetimeFigureOut">
              <a:rPr lang="en-US" smtClean="0"/>
              <a:t>11/3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232326-F7EE-4BE0-ACFD-C761C1AA0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560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99920" y="827618"/>
            <a:ext cx="23835360" cy="30046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99920" y="4138083"/>
            <a:ext cx="23835360" cy="98630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99920" y="14407728"/>
            <a:ext cx="6217920" cy="827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7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0E5150-D69F-4585-A94D-75DEDF06795D}" type="datetimeFigureOut">
              <a:rPr lang="en-US" smtClean="0"/>
              <a:t>11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54160" y="14407728"/>
            <a:ext cx="9326880" cy="827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7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9517360" y="14407728"/>
            <a:ext cx="6217920" cy="827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7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232326-F7EE-4BE0-ACFD-C761C1AA01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53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2072670" rtl="0" eaLnBrk="1" latinLnBrk="0" hangingPunct="1">
        <a:lnSpc>
          <a:spcPct val="90000"/>
        </a:lnSpc>
        <a:spcBef>
          <a:spcPct val="0"/>
        </a:spcBef>
        <a:buNone/>
        <a:defRPr sz="997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18168" indent="-518168" algn="l" defTabSz="2072670" rtl="0" eaLnBrk="1" latinLnBrk="0" hangingPunct="1">
        <a:lnSpc>
          <a:spcPct val="90000"/>
        </a:lnSpc>
        <a:spcBef>
          <a:spcPts val="2267"/>
        </a:spcBef>
        <a:buFont typeface="Arial" panose="020B0604020202020204" pitchFamily="34" charset="0"/>
        <a:buChar char="•"/>
        <a:defRPr sz="6347" kern="1200">
          <a:solidFill>
            <a:schemeClr val="tx1"/>
          </a:solidFill>
          <a:latin typeface="+mn-lt"/>
          <a:ea typeface="+mn-ea"/>
          <a:cs typeface="+mn-cs"/>
        </a:defRPr>
      </a:lvl1pPr>
      <a:lvl2pPr marL="1554503" indent="-518168" algn="l" defTabSz="2072670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5440" kern="1200">
          <a:solidFill>
            <a:schemeClr val="tx1"/>
          </a:solidFill>
          <a:latin typeface="+mn-lt"/>
          <a:ea typeface="+mn-ea"/>
          <a:cs typeface="+mn-cs"/>
        </a:defRPr>
      </a:lvl2pPr>
      <a:lvl3pPr marL="2590838" indent="-518168" algn="l" defTabSz="2072670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533" kern="1200">
          <a:solidFill>
            <a:schemeClr val="tx1"/>
          </a:solidFill>
          <a:latin typeface="+mn-lt"/>
          <a:ea typeface="+mn-ea"/>
          <a:cs typeface="+mn-cs"/>
        </a:defRPr>
      </a:lvl3pPr>
      <a:lvl4pPr marL="3627173" indent="-518168" algn="l" defTabSz="2072670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4pPr>
      <a:lvl5pPr marL="4663509" indent="-518168" algn="l" defTabSz="2072670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5pPr>
      <a:lvl6pPr marL="5699844" indent="-518168" algn="l" defTabSz="2072670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6pPr>
      <a:lvl7pPr marL="6736179" indent="-518168" algn="l" defTabSz="2072670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7pPr>
      <a:lvl8pPr marL="7772514" indent="-518168" algn="l" defTabSz="2072670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8pPr>
      <a:lvl9pPr marL="8808850" indent="-518168" algn="l" defTabSz="2072670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40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72670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1pPr>
      <a:lvl2pPr marL="1036335" algn="l" defTabSz="2072670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2pPr>
      <a:lvl3pPr marL="2072670" algn="l" defTabSz="2072670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3pPr>
      <a:lvl4pPr marL="3109006" algn="l" defTabSz="2072670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4pPr>
      <a:lvl5pPr marL="4145341" algn="l" defTabSz="2072670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5pPr>
      <a:lvl6pPr marL="5181676" algn="l" defTabSz="2072670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6pPr>
      <a:lvl7pPr marL="6218011" algn="l" defTabSz="2072670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7pPr>
      <a:lvl8pPr marL="7254347" algn="l" defTabSz="2072670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8pPr>
      <a:lvl9pPr marL="8290682" algn="l" defTabSz="2072670" rtl="0" eaLnBrk="1" latinLnBrk="0" hangingPunct="1">
        <a:defRPr sz="40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ed Rectangle 43"/>
          <p:cNvSpPr/>
          <p:nvPr/>
        </p:nvSpPr>
        <p:spPr>
          <a:xfrm>
            <a:off x="4052170" y="8997047"/>
            <a:ext cx="8886363" cy="6425832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ounded Rectangle 44"/>
          <p:cNvSpPr/>
          <p:nvPr/>
        </p:nvSpPr>
        <p:spPr>
          <a:xfrm>
            <a:off x="4052170" y="87416"/>
            <a:ext cx="8967445" cy="748521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ounded Rectangle 41"/>
          <p:cNvSpPr/>
          <p:nvPr/>
        </p:nvSpPr>
        <p:spPr>
          <a:xfrm>
            <a:off x="14745905" y="8997047"/>
            <a:ext cx="8651695" cy="641808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ounded Rectangle 35"/>
          <p:cNvSpPr/>
          <p:nvPr/>
        </p:nvSpPr>
        <p:spPr>
          <a:xfrm>
            <a:off x="14685869" y="60960"/>
            <a:ext cx="8711731" cy="7479505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32-Point Star 12"/>
          <p:cNvSpPr/>
          <p:nvPr/>
        </p:nvSpPr>
        <p:spPr>
          <a:xfrm>
            <a:off x="11232855" y="5618714"/>
            <a:ext cx="4980685" cy="4616323"/>
          </a:xfrm>
          <a:prstGeom prst="star3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b="1" dirty="0" smtClean="0">
              <a:solidFill>
                <a:srgbClr val="7030A0"/>
              </a:solidFill>
            </a:endParaRPr>
          </a:p>
          <a:p>
            <a:pPr algn="ctr"/>
            <a:endParaRPr lang="en-US" sz="5400" b="1" dirty="0">
              <a:solidFill>
                <a:srgbClr val="7030A0"/>
              </a:solidFill>
            </a:endParaRPr>
          </a:p>
          <a:p>
            <a:pPr algn="ctr"/>
            <a:r>
              <a:rPr lang="en-US" sz="5400" b="1" dirty="0" smtClean="0">
                <a:solidFill>
                  <a:srgbClr val="7030A0"/>
                </a:solidFill>
              </a:rPr>
              <a:t>DEVOPS</a:t>
            </a:r>
            <a:endParaRPr lang="en-US" sz="5400" b="1" dirty="0">
              <a:solidFill>
                <a:srgbClr val="7030A0"/>
              </a:solidFill>
            </a:endParaRPr>
          </a:p>
        </p:txBody>
      </p:sp>
      <p:sp>
        <p:nvSpPr>
          <p:cNvPr id="27" name="Freeform 26"/>
          <p:cNvSpPr/>
          <p:nvPr/>
        </p:nvSpPr>
        <p:spPr>
          <a:xfrm rot="16200000">
            <a:off x="7083285" y="6292498"/>
            <a:ext cx="7227176" cy="5623190"/>
          </a:xfrm>
          <a:custGeom>
            <a:avLst/>
            <a:gdLst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8163 w 2419350"/>
              <a:gd name="connsiteY7" fmla="*/ 711200 h 1797050"/>
              <a:gd name="connsiteX8" fmla="*/ 0 w 2419350"/>
              <a:gd name="connsiteY8" fmla="*/ 1676400 h 1797050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99546"/>
              <a:gd name="connsiteX1" fmla="*/ 788987 w 2414587"/>
              <a:gd name="connsiteY1" fmla="*/ 1797050 h 1899546"/>
              <a:gd name="connsiteX2" fmla="*/ 1576387 w 2414587"/>
              <a:gd name="connsiteY2" fmla="*/ 1130300 h 1899546"/>
              <a:gd name="connsiteX3" fmla="*/ 1576387 w 2414587"/>
              <a:gd name="connsiteY3" fmla="*/ 1441450 h 1899546"/>
              <a:gd name="connsiteX4" fmla="*/ 2414587 w 2414587"/>
              <a:gd name="connsiteY4" fmla="*/ 704850 h 1899546"/>
              <a:gd name="connsiteX5" fmla="*/ 1570037 w 2414587"/>
              <a:gd name="connsiteY5" fmla="*/ 0 h 1899546"/>
              <a:gd name="connsiteX6" fmla="*/ 1570037 w 2414587"/>
              <a:gd name="connsiteY6" fmla="*/ 311150 h 1899546"/>
              <a:gd name="connsiteX7" fmla="*/ 533400 w 2414587"/>
              <a:gd name="connsiteY7" fmla="*/ 711200 h 1899546"/>
              <a:gd name="connsiteX8" fmla="*/ 0 w 2414587"/>
              <a:gd name="connsiteY8" fmla="*/ 1674018 h 1899546"/>
              <a:gd name="connsiteX0" fmla="*/ 0 w 2414587"/>
              <a:gd name="connsiteY0" fmla="*/ 1664493 h 1890021"/>
              <a:gd name="connsiteX1" fmla="*/ 788987 w 2414587"/>
              <a:gd name="connsiteY1" fmla="*/ 1787525 h 1890021"/>
              <a:gd name="connsiteX2" fmla="*/ 1576387 w 2414587"/>
              <a:gd name="connsiteY2" fmla="*/ 1120775 h 1890021"/>
              <a:gd name="connsiteX3" fmla="*/ 1576387 w 2414587"/>
              <a:gd name="connsiteY3" fmla="*/ 1431925 h 1890021"/>
              <a:gd name="connsiteX4" fmla="*/ 2414587 w 2414587"/>
              <a:gd name="connsiteY4" fmla="*/ 695325 h 1890021"/>
              <a:gd name="connsiteX5" fmla="*/ 1570037 w 2414587"/>
              <a:gd name="connsiteY5" fmla="*/ 0 h 1890021"/>
              <a:gd name="connsiteX6" fmla="*/ 1570037 w 2414587"/>
              <a:gd name="connsiteY6" fmla="*/ 301625 h 1890021"/>
              <a:gd name="connsiteX7" fmla="*/ 533400 w 2414587"/>
              <a:gd name="connsiteY7" fmla="*/ 701675 h 1890021"/>
              <a:gd name="connsiteX8" fmla="*/ 0 w 2414587"/>
              <a:gd name="connsiteY8" fmla="*/ 1664493 h 1890021"/>
              <a:gd name="connsiteX0" fmla="*/ 0 w 2395537"/>
              <a:gd name="connsiteY0" fmla="*/ 1664493 h 1890021"/>
              <a:gd name="connsiteX1" fmla="*/ 788987 w 2395537"/>
              <a:gd name="connsiteY1" fmla="*/ 1787525 h 1890021"/>
              <a:gd name="connsiteX2" fmla="*/ 1576387 w 2395537"/>
              <a:gd name="connsiteY2" fmla="*/ 1120775 h 1890021"/>
              <a:gd name="connsiteX3" fmla="*/ 1576387 w 2395537"/>
              <a:gd name="connsiteY3" fmla="*/ 1431925 h 1890021"/>
              <a:gd name="connsiteX4" fmla="*/ 2395537 w 2395537"/>
              <a:gd name="connsiteY4" fmla="*/ 707231 h 1890021"/>
              <a:gd name="connsiteX5" fmla="*/ 1570037 w 2395537"/>
              <a:gd name="connsiteY5" fmla="*/ 0 h 1890021"/>
              <a:gd name="connsiteX6" fmla="*/ 1570037 w 2395537"/>
              <a:gd name="connsiteY6" fmla="*/ 301625 h 1890021"/>
              <a:gd name="connsiteX7" fmla="*/ 533400 w 2395537"/>
              <a:gd name="connsiteY7" fmla="*/ 701675 h 1890021"/>
              <a:gd name="connsiteX8" fmla="*/ 0 w 2395537"/>
              <a:gd name="connsiteY8" fmla="*/ 1664493 h 1890021"/>
              <a:gd name="connsiteX0" fmla="*/ 0 w 2395537"/>
              <a:gd name="connsiteY0" fmla="*/ 1664493 h 1863176"/>
              <a:gd name="connsiteX1" fmla="*/ 836612 w 2395537"/>
              <a:gd name="connsiteY1" fmla="*/ 1754188 h 1863176"/>
              <a:gd name="connsiteX2" fmla="*/ 1576387 w 2395537"/>
              <a:gd name="connsiteY2" fmla="*/ 1120775 h 1863176"/>
              <a:gd name="connsiteX3" fmla="*/ 1576387 w 2395537"/>
              <a:gd name="connsiteY3" fmla="*/ 1431925 h 1863176"/>
              <a:gd name="connsiteX4" fmla="*/ 2395537 w 2395537"/>
              <a:gd name="connsiteY4" fmla="*/ 707231 h 1863176"/>
              <a:gd name="connsiteX5" fmla="*/ 1570037 w 2395537"/>
              <a:gd name="connsiteY5" fmla="*/ 0 h 1863176"/>
              <a:gd name="connsiteX6" fmla="*/ 1570037 w 2395537"/>
              <a:gd name="connsiteY6" fmla="*/ 301625 h 1863176"/>
              <a:gd name="connsiteX7" fmla="*/ 533400 w 2395537"/>
              <a:gd name="connsiteY7" fmla="*/ 701675 h 1863176"/>
              <a:gd name="connsiteX8" fmla="*/ 0 w 2395537"/>
              <a:gd name="connsiteY8" fmla="*/ 1664493 h 1863176"/>
              <a:gd name="connsiteX0" fmla="*/ 0 w 2395537"/>
              <a:gd name="connsiteY0" fmla="*/ 1664493 h 1864185"/>
              <a:gd name="connsiteX1" fmla="*/ 836612 w 2395537"/>
              <a:gd name="connsiteY1" fmla="*/ 1754188 h 1864185"/>
              <a:gd name="connsiteX2" fmla="*/ 1576387 w 2395537"/>
              <a:gd name="connsiteY2" fmla="*/ 1120775 h 1864185"/>
              <a:gd name="connsiteX3" fmla="*/ 1576387 w 2395537"/>
              <a:gd name="connsiteY3" fmla="*/ 1431925 h 1864185"/>
              <a:gd name="connsiteX4" fmla="*/ 2395537 w 2395537"/>
              <a:gd name="connsiteY4" fmla="*/ 707231 h 1864185"/>
              <a:gd name="connsiteX5" fmla="*/ 1570037 w 2395537"/>
              <a:gd name="connsiteY5" fmla="*/ 0 h 1864185"/>
              <a:gd name="connsiteX6" fmla="*/ 1570037 w 2395537"/>
              <a:gd name="connsiteY6" fmla="*/ 301625 h 1864185"/>
              <a:gd name="connsiteX7" fmla="*/ 533400 w 2395537"/>
              <a:gd name="connsiteY7" fmla="*/ 701675 h 1864185"/>
              <a:gd name="connsiteX8" fmla="*/ 0 w 2395537"/>
              <a:gd name="connsiteY8" fmla="*/ 1664493 h 1864185"/>
              <a:gd name="connsiteX0" fmla="*/ 0 w 2395537"/>
              <a:gd name="connsiteY0" fmla="*/ 1664493 h 1864185"/>
              <a:gd name="connsiteX1" fmla="*/ 836612 w 2395537"/>
              <a:gd name="connsiteY1" fmla="*/ 1754188 h 1864185"/>
              <a:gd name="connsiteX2" fmla="*/ 1576387 w 2395537"/>
              <a:gd name="connsiteY2" fmla="*/ 1120775 h 1864185"/>
              <a:gd name="connsiteX3" fmla="*/ 1576387 w 2395537"/>
              <a:gd name="connsiteY3" fmla="*/ 1431925 h 1864185"/>
              <a:gd name="connsiteX4" fmla="*/ 2395537 w 2395537"/>
              <a:gd name="connsiteY4" fmla="*/ 707231 h 1864185"/>
              <a:gd name="connsiteX5" fmla="*/ 1570037 w 2395537"/>
              <a:gd name="connsiteY5" fmla="*/ 0 h 1864185"/>
              <a:gd name="connsiteX6" fmla="*/ 1570037 w 2395537"/>
              <a:gd name="connsiteY6" fmla="*/ 301625 h 1864185"/>
              <a:gd name="connsiteX7" fmla="*/ 533400 w 2395537"/>
              <a:gd name="connsiteY7" fmla="*/ 701675 h 1864185"/>
              <a:gd name="connsiteX8" fmla="*/ 0 w 2395537"/>
              <a:gd name="connsiteY8" fmla="*/ 1664493 h 1864185"/>
              <a:gd name="connsiteX0" fmla="*/ 0 w 2395537"/>
              <a:gd name="connsiteY0" fmla="*/ 1664493 h 1863876"/>
              <a:gd name="connsiteX1" fmla="*/ 836612 w 2395537"/>
              <a:gd name="connsiteY1" fmla="*/ 1754188 h 1863876"/>
              <a:gd name="connsiteX2" fmla="*/ 1576387 w 2395537"/>
              <a:gd name="connsiteY2" fmla="*/ 1120775 h 1863876"/>
              <a:gd name="connsiteX3" fmla="*/ 1576387 w 2395537"/>
              <a:gd name="connsiteY3" fmla="*/ 1431925 h 1863876"/>
              <a:gd name="connsiteX4" fmla="*/ 2395537 w 2395537"/>
              <a:gd name="connsiteY4" fmla="*/ 707231 h 1863876"/>
              <a:gd name="connsiteX5" fmla="*/ 1570037 w 2395537"/>
              <a:gd name="connsiteY5" fmla="*/ 0 h 1863876"/>
              <a:gd name="connsiteX6" fmla="*/ 1570037 w 2395537"/>
              <a:gd name="connsiteY6" fmla="*/ 301625 h 1863876"/>
              <a:gd name="connsiteX7" fmla="*/ 533400 w 2395537"/>
              <a:gd name="connsiteY7" fmla="*/ 701675 h 1863876"/>
              <a:gd name="connsiteX8" fmla="*/ 0 w 2395537"/>
              <a:gd name="connsiteY8" fmla="*/ 1664493 h 1863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95537" h="1863876">
                <a:moveTo>
                  <a:pt x="0" y="1664493"/>
                </a:moveTo>
                <a:cubicBezTo>
                  <a:pt x="262996" y="1705504"/>
                  <a:pt x="796172" y="2029150"/>
                  <a:pt x="836612" y="1754188"/>
                </a:cubicBezTo>
                <a:cubicBezTo>
                  <a:pt x="875506" y="1489740"/>
                  <a:pt x="1182951" y="1112044"/>
                  <a:pt x="1576387" y="1120775"/>
                </a:cubicBezTo>
                <a:lnTo>
                  <a:pt x="1576387" y="1431925"/>
                </a:lnTo>
                <a:lnTo>
                  <a:pt x="2395537" y="707231"/>
                </a:lnTo>
                <a:lnTo>
                  <a:pt x="1570037" y="0"/>
                </a:lnTo>
                <a:lnTo>
                  <a:pt x="1570037" y="301625"/>
                </a:lnTo>
                <a:cubicBezTo>
                  <a:pt x="1235604" y="321469"/>
                  <a:pt x="909902" y="386556"/>
                  <a:pt x="533400" y="701675"/>
                </a:cubicBezTo>
                <a:cubicBezTo>
                  <a:pt x="244474" y="933714"/>
                  <a:pt x="44450" y="1361810"/>
                  <a:pt x="0" y="1664493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 w="635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2072670">
              <a:defRPr/>
            </a:pPr>
            <a:endParaRPr lang="en-US" sz="4080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28" name="Freeform 27"/>
          <p:cNvSpPr/>
          <p:nvPr/>
        </p:nvSpPr>
        <p:spPr>
          <a:xfrm rot="10800000">
            <a:off x="11356538" y="7935374"/>
            <a:ext cx="7227176" cy="5705615"/>
          </a:xfrm>
          <a:custGeom>
            <a:avLst/>
            <a:gdLst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8163 w 2419350"/>
              <a:gd name="connsiteY7" fmla="*/ 711200 h 1797050"/>
              <a:gd name="connsiteX8" fmla="*/ 0 w 2419350"/>
              <a:gd name="connsiteY8" fmla="*/ 1676400 h 1797050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99546"/>
              <a:gd name="connsiteX1" fmla="*/ 788987 w 2414587"/>
              <a:gd name="connsiteY1" fmla="*/ 1797050 h 1899546"/>
              <a:gd name="connsiteX2" fmla="*/ 1576387 w 2414587"/>
              <a:gd name="connsiteY2" fmla="*/ 1130300 h 1899546"/>
              <a:gd name="connsiteX3" fmla="*/ 1576387 w 2414587"/>
              <a:gd name="connsiteY3" fmla="*/ 1441450 h 1899546"/>
              <a:gd name="connsiteX4" fmla="*/ 2414587 w 2414587"/>
              <a:gd name="connsiteY4" fmla="*/ 704850 h 1899546"/>
              <a:gd name="connsiteX5" fmla="*/ 1570037 w 2414587"/>
              <a:gd name="connsiteY5" fmla="*/ 0 h 1899546"/>
              <a:gd name="connsiteX6" fmla="*/ 1570037 w 2414587"/>
              <a:gd name="connsiteY6" fmla="*/ 311150 h 1899546"/>
              <a:gd name="connsiteX7" fmla="*/ 533400 w 2414587"/>
              <a:gd name="connsiteY7" fmla="*/ 711200 h 1899546"/>
              <a:gd name="connsiteX8" fmla="*/ 0 w 2414587"/>
              <a:gd name="connsiteY8" fmla="*/ 1674018 h 1899546"/>
              <a:gd name="connsiteX0" fmla="*/ 0 w 2414587"/>
              <a:gd name="connsiteY0" fmla="*/ 1664493 h 1890021"/>
              <a:gd name="connsiteX1" fmla="*/ 788987 w 2414587"/>
              <a:gd name="connsiteY1" fmla="*/ 1787525 h 1890021"/>
              <a:gd name="connsiteX2" fmla="*/ 1576387 w 2414587"/>
              <a:gd name="connsiteY2" fmla="*/ 1120775 h 1890021"/>
              <a:gd name="connsiteX3" fmla="*/ 1576387 w 2414587"/>
              <a:gd name="connsiteY3" fmla="*/ 1431925 h 1890021"/>
              <a:gd name="connsiteX4" fmla="*/ 2414587 w 2414587"/>
              <a:gd name="connsiteY4" fmla="*/ 695325 h 1890021"/>
              <a:gd name="connsiteX5" fmla="*/ 1570037 w 2414587"/>
              <a:gd name="connsiteY5" fmla="*/ 0 h 1890021"/>
              <a:gd name="connsiteX6" fmla="*/ 1570037 w 2414587"/>
              <a:gd name="connsiteY6" fmla="*/ 301625 h 1890021"/>
              <a:gd name="connsiteX7" fmla="*/ 533400 w 2414587"/>
              <a:gd name="connsiteY7" fmla="*/ 701675 h 1890021"/>
              <a:gd name="connsiteX8" fmla="*/ 0 w 2414587"/>
              <a:gd name="connsiteY8" fmla="*/ 1664493 h 1890021"/>
              <a:gd name="connsiteX0" fmla="*/ 0 w 2395537"/>
              <a:gd name="connsiteY0" fmla="*/ 1664493 h 1890021"/>
              <a:gd name="connsiteX1" fmla="*/ 788987 w 2395537"/>
              <a:gd name="connsiteY1" fmla="*/ 1787525 h 1890021"/>
              <a:gd name="connsiteX2" fmla="*/ 1576387 w 2395537"/>
              <a:gd name="connsiteY2" fmla="*/ 1120775 h 1890021"/>
              <a:gd name="connsiteX3" fmla="*/ 1576387 w 2395537"/>
              <a:gd name="connsiteY3" fmla="*/ 1431925 h 1890021"/>
              <a:gd name="connsiteX4" fmla="*/ 2395537 w 2395537"/>
              <a:gd name="connsiteY4" fmla="*/ 707231 h 1890021"/>
              <a:gd name="connsiteX5" fmla="*/ 1570037 w 2395537"/>
              <a:gd name="connsiteY5" fmla="*/ 0 h 1890021"/>
              <a:gd name="connsiteX6" fmla="*/ 1570037 w 2395537"/>
              <a:gd name="connsiteY6" fmla="*/ 301625 h 1890021"/>
              <a:gd name="connsiteX7" fmla="*/ 533400 w 2395537"/>
              <a:gd name="connsiteY7" fmla="*/ 701675 h 1890021"/>
              <a:gd name="connsiteX8" fmla="*/ 0 w 2395537"/>
              <a:gd name="connsiteY8" fmla="*/ 1664493 h 1890021"/>
              <a:gd name="connsiteX0" fmla="*/ 0 w 2395537"/>
              <a:gd name="connsiteY0" fmla="*/ 1664493 h 1890021"/>
              <a:gd name="connsiteX1" fmla="*/ 803274 w 2395537"/>
              <a:gd name="connsiteY1" fmla="*/ 1787525 h 1890021"/>
              <a:gd name="connsiteX2" fmla="*/ 1576387 w 2395537"/>
              <a:gd name="connsiteY2" fmla="*/ 1120775 h 1890021"/>
              <a:gd name="connsiteX3" fmla="*/ 1576387 w 2395537"/>
              <a:gd name="connsiteY3" fmla="*/ 1431925 h 1890021"/>
              <a:gd name="connsiteX4" fmla="*/ 2395537 w 2395537"/>
              <a:gd name="connsiteY4" fmla="*/ 707231 h 1890021"/>
              <a:gd name="connsiteX5" fmla="*/ 1570037 w 2395537"/>
              <a:gd name="connsiteY5" fmla="*/ 0 h 1890021"/>
              <a:gd name="connsiteX6" fmla="*/ 1570037 w 2395537"/>
              <a:gd name="connsiteY6" fmla="*/ 301625 h 1890021"/>
              <a:gd name="connsiteX7" fmla="*/ 533400 w 2395537"/>
              <a:gd name="connsiteY7" fmla="*/ 701675 h 1890021"/>
              <a:gd name="connsiteX8" fmla="*/ 0 w 2395537"/>
              <a:gd name="connsiteY8" fmla="*/ 1664493 h 1890021"/>
              <a:gd name="connsiteX0" fmla="*/ 0 w 2395537"/>
              <a:gd name="connsiteY0" fmla="*/ 1664493 h 1891197"/>
              <a:gd name="connsiteX1" fmla="*/ 803274 w 2395537"/>
              <a:gd name="connsiteY1" fmla="*/ 1787525 h 1891197"/>
              <a:gd name="connsiteX2" fmla="*/ 1576387 w 2395537"/>
              <a:gd name="connsiteY2" fmla="*/ 1120775 h 1891197"/>
              <a:gd name="connsiteX3" fmla="*/ 1576387 w 2395537"/>
              <a:gd name="connsiteY3" fmla="*/ 1431925 h 1891197"/>
              <a:gd name="connsiteX4" fmla="*/ 2395537 w 2395537"/>
              <a:gd name="connsiteY4" fmla="*/ 707231 h 1891197"/>
              <a:gd name="connsiteX5" fmla="*/ 1570037 w 2395537"/>
              <a:gd name="connsiteY5" fmla="*/ 0 h 1891197"/>
              <a:gd name="connsiteX6" fmla="*/ 1570037 w 2395537"/>
              <a:gd name="connsiteY6" fmla="*/ 301625 h 1891197"/>
              <a:gd name="connsiteX7" fmla="*/ 533400 w 2395537"/>
              <a:gd name="connsiteY7" fmla="*/ 701675 h 1891197"/>
              <a:gd name="connsiteX8" fmla="*/ 0 w 2395537"/>
              <a:gd name="connsiteY8" fmla="*/ 1664493 h 1891197"/>
              <a:gd name="connsiteX0" fmla="*/ 0 w 2395537"/>
              <a:gd name="connsiteY0" fmla="*/ 1664493 h 1891197"/>
              <a:gd name="connsiteX1" fmla="*/ 803274 w 2395537"/>
              <a:gd name="connsiteY1" fmla="*/ 1787525 h 1891197"/>
              <a:gd name="connsiteX2" fmla="*/ 1576387 w 2395537"/>
              <a:gd name="connsiteY2" fmla="*/ 1120775 h 1891197"/>
              <a:gd name="connsiteX3" fmla="*/ 1576387 w 2395537"/>
              <a:gd name="connsiteY3" fmla="*/ 1431925 h 1891197"/>
              <a:gd name="connsiteX4" fmla="*/ 2395537 w 2395537"/>
              <a:gd name="connsiteY4" fmla="*/ 707231 h 1891197"/>
              <a:gd name="connsiteX5" fmla="*/ 1570037 w 2395537"/>
              <a:gd name="connsiteY5" fmla="*/ 0 h 1891197"/>
              <a:gd name="connsiteX6" fmla="*/ 1570037 w 2395537"/>
              <a:gd name="connsiteY6" fmla="*/ 301625 h 1891197"/>
              <a:gd name="connsiteX7" fmla="*/ 533400 w 2395537"/>
              <a:gd name="connsiteY7" fmla="*/ 701675 h 1891197"/>
              <a:gd name="connsiteX8" fmla="*/ 0 w 2395537"/>
              <a:gd name="connsiteY8" fmla="*/ 1664493 h 1891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95537" h="1891197">
                <a:moveTo>
                  <a:pt x="0" y="1664493"/>
                </a:moveTo>
                <a:cubicBezTo>
                  <a:pt x="262996" y="1705504"/>
                  <a:pt x="771376" y="2063609"/>
                  <a:pt x="803274" y="1787525"/>
                </a:cubicBezTo>
                <a:cubicBezTo>
                  <a:pt x="837405" y="1492118"/>
                  <a:pt x="1130563" y="1140619"/>
                  <a:pt x="1576387" y="1120775"/>
                </a:cubicBezTo>
                <a:lnTo>
                  <a:pt x="1576387" y="1431925"/>
                </a:lnTo>
                <a:lnTo>
                  <a:pt x="2395537" y="707231"/>
                </a:lnTo>
                <a:lnTo>
                  <a:pt x="1570037" y="0"/>
                </a:lnTo>
                <a:lnTo>
                  <a:pt x="1570037" y="301625"/>
                </a:lnTo>
                <a:cubicBezTo>
                  <a:pt x="1235604" y="321469"/>
                  <a:pt x="909902" y="386556"/>
                  <a:pt x="533400" y="701675"/>
                </a:cubicBezTo>
                <a:cubicBezTo>
                  <a:pt x="244474" y="933714"/>
                  <a:pt x="44450" y="1361810"/>
                  <a:pt x="0" y="1664493"/>
                </a:cubicBezTo>
                <a:close/>
              </a:path>
            </a:pathLst>
          </a:cu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2072670">
              <a:defRPr/>
            </a:pPr>
            <a:endParaRPr lang="en-US" sz="4080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31" name="Freeform 30"/>
          <p:cNvSpPr/>
          <p:nvPr/>
        </p:nvSpPr>
        <p:spPr>
          <a:xfrm rot="5400000">
            <a:off x="13086338" y="3787361"/>
            <a:ext cx="7227176" cy="5729136"/>
          </a:xfrm>
          <a:custGeom>
            <a:avLst/>
            <a:gdLst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8163 w 2419350"/>
              <a:gd name="connsiteY7" fmla="*/ 711200 h 1797050"/>
              <a:gd name="connsiteX8" fmla="*/ 0 w 2419350"/>
              <a:gd name="connsiteY8" fmla="*/ 1676400 h 1797050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99546"/>
              <a:gd name="connsiteX1" fmla="*/ 788987 w 2414587"/>
              <a:gd name="connsiteY1" fmla="*/ 1797050 h 1899546"/>
              <a:gd name="connsiteX2" fmla="*/ 1576387 w 2414587"/>
              <a:gd name="connsiteY2" fmla="*/ 1130300 h 1899546"/>
              <a:gd name="connsiteX3" fmla="*/ 1576387 w 2414587"/>
              <a:gd name="connsiteY3" fmla="*/ 1441450 h 1899546"/>
              <a:gd name="connsiteX4" fmla="*/ 2414587 w 2414587"/>
              <a:gd name="connsiteY4" fmla="*/ 704850 h 1899546"/>
              <a:gd name="connsiteX5" fmla="*/ 1570037 w 2414587"/>
              <a:gd name="connsiteY5" fmla="*/ 0 h 1899546"/>
              <a:gd name="connsiteX6" fmla="*/ 1570037 w 2414587"/>
              <a:gd name="connsiteY6" fmla="*/ 311150 h 1899546"/>
              <a:gd name="connsiteX7" fmla="*/ 533400 w 2414587"/>
              <a:gd name="connsiteY7" fmla="*/ 711200 h 1899546"/>
              <a:gd name="connsiteX8" fmla="*/ 0 w 2414587"/>
              <a:gd name="connsiteY8" fmla="*/ 1674018 h 1899546"/>
              <a:gd name="connsiteX0" fmla="*/ 0 w 2414587"/>
              <a:gd name="connsiteY0" fmla="*/ 1664493 h 1890021"/>
              <a:gd name="connsiteX1" fmla="*/ 788987 w 2414587"/>
              <a:gd name="connsiteY1" fmla="*/ 1787525 h 1890021"/>
              <a:gd name="connsiteX2" fmla="*/ 1576387 w 2414587"/>
              <a:gd name="connsiteY2" fmla="*/ 1120775 h 1890021"/>
              <a:gd name="connsiteX3" fmla="*/ 1576387 w 2414587"/>
              <a:gd name="connsiteY3" fmla="*/ 1431925 h 1890021"/>
              <a:gd name="connsiteX4" fmla="*/ 2414587 w 2414587"/>
              <a:gd name="connsiteY4" fmla="*/ 695325 h 1890021"/>
              <a:gd name="connsiteX5" fmla="*/ 1570037 w 2414587"/>
              <a:gd name="connsiteY5" fmla="*/ 0 h 1890021"/>
              <a:gd name="connsiteX6" fmla="*/ 1570037 w 2414587"/>
              <a:gd name="connsiteY6" fmla="*/ 301625 h 1890021"/>
              <a:gd name="connsiteX7" fmla="*/ 533400 w 2414587"/>
              <a:gd name="connsiteY7" fmla="*/ 701675 h 1890021"/>
              <a:gd name="connsiteX8" fmla="*/ 0 w 2414587"/>
              <a:gd name="connsiteY8" fmla="*/ 1664493 h 1890021"/>
              <a:gd name="connsiteX0" fmla="*/ 0 w 2395537"/>
              <a:gd name="connsiteY0" fmla="*/ 1664493 h 1890021"/>
              <a:gd name="connsiteX1" fmla="*/ 788987 w 2395537"/>
              <a:gd name="connsiteY1" fmla="*/ 1787525 h 1890021"/>
              <a:gd name="connsiteX2" fmla="*/ 1576387 w 2395537"/>
              <a:gd name="connsiteY2" fmla="*/ 1120775 h 1890021"/>
              <a:gd name="connsiteX3" fmla="*/ 1576387 w 2395537"/>
              <a:gd name="connsiteY3" fmla="*/ 1431925 h 1890021"/>
              <a:gd name="connsiteX4" fmla="*/ 2395537 w 2395537"/>
              <a:gd name="connsiteY4" fmla="*/ 707231 h 1890021"/>
              <a:gd name="connsiteX5" fmla="*/ 1570037 w 2395537"/>
              <a:gd name="connsiteY5" fmla="*/ 0 h 1890021"/>
              <a:gd name="connsiteX6" fmla="*/ 1570037 w 2395537"/>
              <a:gd name="connsiteY6" fmla="*/ 301625 h 1890021"/>
              <a:gd name="connsiteX7" fmla="*/ 533400 w 2395537"/>
              <a:gd name="connsiteY7" fmla="*/ 701675 h 1890021"/>
              <a:gd name="connsiteX8" fmla="*/ 0 w 2395537"/>
              <a:gd name="connsiteY8" fmla="*/ 1664493 h 1890021"/>
              <a:gd name="connsiteX0" fmla="*/ 0 w 2395537"/>
              <a:gd name="connsiteY0" fmla="*/ 1664493 h 1897827"/>
              <a:gd name="connsiteX1" fmla="*/ 812799 w 2395537"/>
              <a:gd name="connsiteY1" fmla="*/ 1797050 h 1897827"/>
              <a:gd name="connsiteX2" fmla="*/ 1576387 w 2395537"/>
              <a:gd name="connsiteY2" fmla="*/ 1120775 h 1897827"/>
              <a:gd name="connsiteX3" fmla="*/ 1576387 w 2395537"/>
              <a:gd name="connsiteY3" fmla="*/ 1431925 h 1897827"/>
              <a:gd name="connsiteX4" fmla="*/ 2395537 w 2395537"/>
              <a:gd name="connsiteY4" fmla="*/ 707231 h 1897827"/>
              <a:gd name="connsiteX5" fmla="*/ 1570037 w 2395537"/>
              <a:gd name="connsiteY5" fmla="*/ 0 h 1897827"/>
              <a:gd name="connsiteX6" fmla="*/ 1570037 w 2395537"/>
              <a:gd name="connsiteY6" fmla="*/ 301625 h 1897827"/>
              <a:gd name="connsiteX7" fmla="*/ 533400 w 2395537"/>
              <a:gd name="connsiteY7" fmla="*/ 701675 h 1897827"/>
              <a:gd name="connsiteX8" fmla="*/ 0 w 2395537"/>
              <a:gd name="connsiteY8" fmla="*/ 1664493 h 1897827"/>
              <a:gd name="connsiteX0" fmla="*/ 0 w 2395537"/>
              <a:gd name="connsiteY0" fmla="*/ 1664493 h 1899691"/>
              <a:gd name="connsiteX1" fmla="*/ 812799 w 2395537"/>
              <a:gd name="connsiteY1" fmla="*/ 1797050 h 1899691"/>
              <a:gd name="connsiteX2" fmla="*/ 1576387 w 2395537"/>
              <a:gd name="connsiteY2" fmla="*/ 1120775 h 1899691"/>
              <a:gd name="connsiteX3" fmla="*/ 1576387 w 2395537"/>
              <a:gd name="connsiteY3" fmla="*/ 1431925 h 1899691"/>
              <a:gd name="connsiteX4" fmla="*/ 2395537 w 2395537"/>
              <a:gd name="connsiteY4" fmla="*/ 707231 h 1899691"/>
              <a:gd name="connsiteX5" fmla="*/ 1570037 w 2395537"/>
              <a:gd name="connsiteY5" fmla="*/ 0 h 1899691"/>
              <a:gd name="connsiteX6" fmla="*/ 1570037 w 2395537"/>
              <a:gd name="connsiteY6" fmla="*/ 301625 h 1899691"/>
              <a:gd name="connsiteX7" fmla="*/ 533400 w 2395537"/>
              <a:gd name="connsiteY7" fmla="*/ 701675 h 1899691"/>
              <a:gd name="connsiteX8" fmla="*/ 0 w 2395537"/>
              <a:gd name="connsiteY8" fmla="*/ 1664493 h 1899691"/>
              <a:gd name="connsiteX0" fmla="*/ 0 w 2395537"/>
              <a:gd name="connsiteY0" fmla="*/ 1664493 h 1899691"/>
              <a:gd name="connsiteX1" fmla="*/ 812799 w 2395537"/>
              <a:gd name="connsiteY1" fmla="*/ 1797050 h 1899691"/>
              <a:gd name="connsiteX2" fmla="*/ 1576387 w 2395537"/>
              <a:gd name="connsiteY2" fmla="*/ 1120775 h 1899691"/>
              <a:gd name="connsiteX3" fmla="*/ 1576387 w 2395537"/>
              <a:gd name="connsiteY3" fmla="*/ 1431925 h 1899691"/>
              <a:gd name="connsiteX4" fmla="*/ 2395537 w 2395537"/>
              <a:gd name="connsiteY4" fmla="*/ 707231 h 1899691"/>
              <a:gd name="connsiteX5" fmla="*/ 1570037 w 2395537"/>
              <a:gd name="connsiteY5" fmla="*/ 0 h 1899691"/>
              <a:gd name="connsiteX6" fmla="*/ 1570037 w 2395537"/>
              <a:gd name="connsiteY6" fmla="*/ 301625 h 1899691"/>
              <a:gd name="connsiteX7" fmla="*/ 533400 w 2395537"/>
              <a:gd name="connsiteY7" fmla="*/ 701675 h 1899691"/>
              <a:gd name="connsiteX8" fmla="*/ 0 w 2395537"/>
              <a:gd name="connsiteY8" fmla="*/ 1664493 h 1899691"/>
              <a:gd name="connsiteX0" fmla="*/ 0 w 2395537"/>
              <a:gd name="connsiteY0" fmla="*/ 1664493 h 1898993"/>
              <a:gd name="connsiteX1" fmla="*/ 812799 w 2395537"/>
              <a:gd name="connsiteY1" fmla="*/ 1797050 h 1898993"/>
              <a:gd name="connsiteX2" fmla="*/ 1576387 w 2395537"/>
              <a:gd name="connsiteY2" fmla="*/ 1120775 h 1898993"/>
              <a:gd name="connsiteX3" fmla="*/ 1576387 w 2395537"/>
              <a:gd name="connsiteY3" fmla="*/ 1431925 h 1898993"/>
              <a:gd name="connsiteX4" fmla="*/ 2395537 w 2395537"/>
              <a:gd name="connsiteY4" fmla="*/ 707231 h 1898993"/>
              <a:gd name="connsiteX5" fmla="*/ 1570037 w 2395537"/>
              <a:gd name="connsiteY5" fmla="*/ 0 h 1898993"/>
              <a:gd name="connsiteX6" fmla="*/ 1570037 w 2395537"/>
              <a:gd name="connsiteY6" fmla="*/ 301625 h 1898993"/>
              <a:gd name="connsiteX7" fmla="*/ 533400 w 2395537"/>
              <a:gd name="connsiteY7" fmla="*/ 701675 h 1898993"/>
              <a:gd name="connsiteX8" fmla="*/ 0 w 2395537"/>
              <a:gd name="connsiteY8" fmla="*/ 1664493 h 1898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95537" h="1898993">
                <a:moveTo>
                  <a:pt x="0" y="1664493"/>
                </a:moveTo>
                <a:cubicBezTo>
                  <a:pt x="262996" y="1705504"/>
                  <a:pt x="780807" y="2073123"/>
                  <a:pt x="812799" y="1797050"/>
                </a:cubicBezTo>
                <a:cubicBezTo>
                  <a:pt x="844548" y="1523075"/>
                  <a:pt x="1128182" y="1128712"/>
                  <a:pt x="1576387" y="1120775"/>
                </a:cubicBezTo>
                <a:lnTo>
                  <a:pt x="1576387" y="1431925"/>
                </a:lnTo>
                <a:lnTo>
                  <a:pt x="2395537" y="707231"/>
                </a:lnTo>
                <a:lnTo>
                  <a:pt x="1570037" y="0"/>
                </a:lnTo>
                <a:lnTo>
                  <a:pt x="1570037" y="301625"/>
                </a:lnTo>
                <a:cubicBezTo>
                  <a:pt x="1235604" y="321469"/>
                  <a:pt x="909902" y="386556"/>
                  <a:pt x="533400" y="701675"/>
                </a:cubicBezTo>
                <a:cubicBezTo>
                  <a:pt x="244474" y="933714"/>
                  <a:pt x="44450" y="1361810"/>
                  <a:pt x="0" y="1664493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2072670">
              <a:defRPr/>
            </a:pPr>
            <a:endParaRPr lang="en-US" sz="4080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32" name="Freeform 31"/>
          <p:cNvSpPr/>
          <p:nvPr/>
        </p:nvSpPr>
        <p:spPr>
          <a:xfrm>
            <a:off x="8976222" y="2057559"/>
            <a:ext cx="7150542" cy="4969345"/>
          </a:xfrm>
          <a:custGeom>
            <a:avLst/>
            <a:gdLst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3400 w 2419350"/>
              <a:gd name="connsiteY7" fmla="*/ 692150 h 1797050"/>
              <a:gd name="connsiteX8" fmla="*/ 0 w 2419350"/>
              <a:gd name="connsiteY8" fmla="*/ 1676400 h 1797050"/>
              <a:gd name="connsiteX0" fmla="*/ 0 w 2419350"/>
              <a:gd name="connsiteY0" fmla="*/ 1676400 h 1797050"/>
              <a:gd name="connsiteX1" fmla="*/ 793750 w 2419350"/>
              <a:gd name="connsiteY1" fmla="*/ 1797050 h 1797050"/>
              <a:gd name="connsiteX2" fmla="*/ 1581150 w 2419350"/>
              <a:gd name="connsiteY2" fmla="*/ 1130300 h 1797050"/>
              <a:gd name="connsiteX3" fmla="*/ 1581150 w 2419350"/>
              <a:gd name="connsiteY3" fmla="*/ 1441450 h 1797050"/>
              <a:gd name="connsiteX4" fmla="*/ 2419350 w 2419350"/>
              <a:gd name="connsiteY4" fmla="*/ 704850 h 1797050"/>
              <a:gd name="connsiteX5" fmla="*/ 1574800 w 2419350"/>
              <a:gd name="connsiteY5" fmla="*/ 0 h 1797050"/>
              <a:gd name="connsiteX6" fmla="*/ 1574800 w 2419350"/>
              <a:gd name="connsiteY6" fmla="*/ 311150 h 1797050"/>
              <a:gd name="connsiteX7" fmla="*/ 538163 w 2419350"/>
              <a:gd name="connsiteY7" fmla="*/ 711200 h 1797050"/>
              <a:gd name="connsiteX8" fmla="*/ 0 w 2419350"/>
              <a:gd name="connsiteY8" fmla="*/ 1676400 h 1797050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22994"/>
              <a:gd name="connsiteX1" fmla="*/ 788987 w 2414587"/>
              <a:gd name="connsiteY1" fmla="*/ 1797050 h 1822994"/>
              <a:gd name="connsiteX2" fmla="*/ 1576387 w 2414587"/>
              <a:gd name="connsiteY2" fmla="*/ 1130300 h 1822994"/>
              <a:gd name="connsiteX3" fmla="*/ 1576387 w 2414587"/>
              <a:gd name="connsiteY3" fmla="*/ 1441450 h 1822994"/>
              <a:gd name="connsiteX4" fmla="*/ 2414587 w 2414587"/>
              <a:gd name="connsiteY4" fmla="*/ 704850 h 1822994"/>
              <a:gd name="connsiteX5" fmla="*/ 1570037 w 2414587"/>
              <a:gd name="connsiteY5" fmla="*/ 0 h 1822994"/>
              <a:gd name="connsiteX6" fmla="*/ 1570037 w 2414587"/>
              <a:gd name="connsiteY6" fmla="*/ 311150 h 1822994"/>
              <a:gd name="connsiteX7" fmla="*/ 533400 w 2414587"/>
              <a:gd name="connsiteY7" fmla="*/ 711200 h 1822994"/>
              <a:gd name="connsiteX8" fmla="*/ 0 w 2414587"/>
              <a:gd name="connsiteY8" fmla="*/ 1674018 h 1822994"/>
              <a:gd name="connsiteX0" fmla="*/ 0 w 2414587"/>
              <a:gd name="connsiteY0" fmla="*/ 1674018 h 1899546"/>
              <a:gd name="connsiteX1" fmla="*/ 788987 w 2414587"/>
              <a:gd name="connsiteY1" fmla="*/ 1797050 h 1899546"/>
              <a:gd name="connsiteX2" fmla="*/ 1576387 w 2414587"/>
              <a:gd name="connsiteY2" fmla="*/ 1130300 h 1899546"/>
              <a:gd name="connsiteX3" fmla="*/ 1576387 w 2414587"/>
              <a:gd name="connsiteY3" fmla="*/ 1441450 h 1899546"/>
              <a:gd name="connsiteX4" fmla="*/ 2414587 w 2414587"/>
              <a:gd name="connsiteY4" fmla="*/ 704850 h 1899546"/>
              <a:gd name="connsiteX5" fmla="*/ 1570037 w 2414587"/>
              <a:gd name="connsiteY5" fmla="*/ 0 h 1899546"/>
              <a:gd name="connsiteX6" fmla="*/ 1570037 w 2414587"/>
              <a:gd name="connsiteY6" fmla="*/ 311150 h 1899546"/>
              <a:gd name="connsiteX7" fmla="*/ 533400 w 2414587"/>
              <a:gd name="connsiteY7" fmla="*/ 711200 h 1899546"/>
              <a:gd name="connsiteX8" fmla="*/ 0 w 2414587"/>
              <a:gd name="connsiteY8" fmla="*/ 1674018 h 1899546"/>
              <a:gd name="connsiteX0" fmla="*/ 0 w 2414587"/>
              <a:gd name="connsiteY0" fmla="*/ 1664493 h 1890021"/>
              <a:gd name="connsiteX1" fmla="*/ 788987 w 2414587"/>
              <a:gd name="connsiteY1" fmla="*/ 1787525 h 1890021"/>
              <a:gd name="connsiteX2" fmla="*/ 1576387 w 2414587"/>
              <a:gd name="connsiteY2" fmla="*/ 1120775 h 1890021"/>
              <a:gd name="connsiteX3" fmla="*/ 1576387 w 2414587"/>
              <a:gd name="connsiteY3" fmla="*/ 1431925 h 1890021"/>
              <a:gd name="connsiteX4" fmla="*/ 2414587 w 2414587"/>
              <a:gd name="connsiteY4" fmla="*/ 695325 h 1890021"/>
              <a:gd name="connsiteX5" fmla="*/ 1570037 w 2414587"/>
              <a:gd name="connsiteY5" fmla="*/ 0 h 1890021"/>
              <a:gd name="connsiteX6" fmla="*/ 1570037 w 2414587"/>
              <a:gd name="connsiteY6" fmla="*/ 301625 h 1890021"/>
              <a:gd name="connsiteX7" fmla="*/ 533400 w 2414587"/>
              <a:gd name="connsiteY7" fmla="*/ 701675 h 1890021"/>
              <a:gd name="connsiteX8" fmla="*/ 0 w 2414587"/>
              <a:gd name="connsiteY8" fmla="*/ 1664493 h 1890021"/>
              <a:gd name="connsiteX0" fmla="*/ 0 w 2395537"/>
              <a:gd name="connsiteY0" fmla="*/ 1664493 h 1890021"/>
              <a:gd name="connsiteX1" fmla="*/ 788987 w 2395537"/>
              <a:gd name="connsiteY1" fmla="*/ 1787525 h 1890021"/>
              <a:gd name="connsiteX2" fmla="*/ 1576387 w 2395537"/>
              <a:gd name="connsiteY2" fmla="*/ 1120775 h 1890021"/>
              <a:gd name="connsiteX3" fmla="*/ 1576387 w 2395537"/>
              <a:gd name="connsiteY3" fmla="*/ 1431925 h 1890021"/>
              <a:gd name="connsiteX4" fmla="*/ 2395537 w 2395537"/>
              <a:gd name="connsiteY4" fmla="*/ 707231 h 1890021"/>
              <a:gd name="connsiteX5" fmla="*/ 1570037 w 2395537"/>
              <a:gd name="connsiteY5" fmla="*/ 0 h 1890021"/>
              <a:gd name="connsiteX6" fmla="*/ 1570037 w 2395537"/>
              <a:gd name="connsiteY6" fmla="*/ 301625 h 1890021"/>
              <a:gd name="connsiteX7" fmla="*/ 533400 w 2395537"/>
              <a:gd name="connsiteY7" fmla="*/ 701675 h 1890021"/>
              <a:gd name="connsiteX8" fmla="*/ 0 w 2395537"/>
              <a:gd name="connsiteY8" fmla="*/ 1664493 h 1890021"/>
              <a:gd name="connsiteX0" fmla="*/ 0 w 2395537"/>
              <a:gd name="connsiteY0" fmla="*/ 1664493 h 1812856"/>
              <a:gd name="connsiteX1" fmla="*/ 788987 w 2395537"/>
              <a:gd name="connsiteY1" fmla="*/ 1787525 h 1812856"/>
              <a:gd name="connsiteX2" fmla="*/ 1576387 w 2395537"/>
              <a:gd name="connsiteY2" fmla="*/ 1130300 h 1812856"/>
              <a:gd name="connsiteX3" fmla="*/ 1576387 w 2395537"/>
              <a:gd name="connsiteY3" fmla="*/ 1431925 h 1812856"/>
              <a:gd name="connsiteX4" fmla="*/ 2395537 w 2395537"/>
              <a:gd name="connsiteY4" fmla="*/ 707231 h 1812856"/>
              <a:gd name="connsiteX5" fmla="*/ 1570037 w 2395537"/>
              <a:gd name="connsiteY5" fmla="*/ 0 h 1812856"/>
              <a:gd name="connsiteX6" fmla="*/ 1570037 w 2395537"/>
              <a:gd name="connsiteY6" fmla="*/ 301625 h 1812856"/>
              <a:gd name="connsiteX7" fmla="*/ 533400 w 2395537"/>
              <a:gd name="connsiteY7" fmla="*/ 701675 h 1812856"/>
              <a:gd name="connsiteX8" fmla="*/ 0 w 2395537"/>
              <a:gd name="connsiteY8" fmla="*/ 1664493 h 1812856"/>
              <a:gd name="connsiteX0" fmla="*/ 0 w 2395537"/>
              <a:gd name="connsiteY0" fmla="*/ 1664493 h 1890585"/>
              <a:gd name="connsiteX1" fmla="*/ 788987 w 2395537"/>
              <a:gd name="connsiteY1" fmla="*/ 1787525 h 1890585"/>
              <a:gd name="connsiteX2" fmla="*/ 1576387 w 2395537"/>
              <a:gd name="connsiteY2" fmla="*/ 1130300 h 1890585"/>
              <a:gd name="connsiteX3" fmla="*/ 1576387 w 2395537"/>
              <a:gd name="connsiteY3" fmla="*/ 1431925 h 1890585"/>
              <a:gd name="connsiteX4" fmla="*/ 2395537 w 2395537"/>
              <a:gd name="connsiteY4" fmla="*/ 707231 h 1890585"/>
              <a:gd name="connsiteX5" fmla="*/ 1570037 w 2395537"/>
              <a:gd name="connsiteY5" fmla="*/ 0 h 1890585"/>
              <a:gd name="connsiteX6" fmla="*/ 1570037 w 2395537"/>
              <a:gd name="connsiteY6" fmla="*/ 301625 h 1890585"/>
              <a:gd name="connsiteX7" fmla="*/ 533400 w 2395537"/>
              <a:gd name="connsiteY7" fmla="*/ 701675 h 1890585"/>
              <a:gd name="connsiteX8" fmla="*/ 0 w 2395537"/>
              <a:gd name="connsiteY8" fmla="*/ 1664493 h 1890585"/>
              <a:gd name="connsiteX0" fmla="*/ 0 w 2395537"/>
              <a:gd name="connsiteY0" fmla="*/ 1664493 h 1890585"/>
              <a:gd name="connsiteX1" fmla="*/ 788987 w 2395537"/>
              <a:gd name="connsiteY1" fmla="*/ 1787525 h 1890585"/>
              <a:gd name="connsiteX2" fmla="*/ 1576387 w 2395537"/>
              <a:gd name="connsiteY2" fmla="*/ 1130300 h 1890585"/>
              <a:gd name="connsiteX3" fmla="*/ 1576387 w 2395537"/>
              <a:gd name="connsiteY3" fmla="*/ 1431925 h 1890585"/>
              <a:gd name="connsiteX4" fmla="*/ 2395537 w 2395537"/>
              <a:gd name="connsiteY4" fmla="*/ 707231 h 1890585"/>
              <a:gd name="connsiteX5" fmla="*/ 1570037 w 2395537"/>
              <a:gd name="connsiteY5" fmla="*/ 0 h 1890585"/>
              <a:gd name="connsiteX6" fmla="*/ 1570037 w 2395537"/>
              <a:gd name="connsiteY6" fmla="*/ 301625 h 1890585"/>
              <a:gd name="connsiteX7" fmla="*/ 533400 w 2395537"/>
              <a:gd name="connsiteY7" fmla="*/ 701675 h 1890585"/>
              <a:gd name="connsiteX8" fmla="*/ 0 w 2395537"/>
              <a:gd name="connsiteY8" fmla="*/ 1664493 h 1890585"/>
              <a:gd name="connsiteX0" fmla="*/ 0 w 2395537"/>
              <a:gd name="connsiteY0" fmla="*/ 1664493 h 1890585"/>
              <a:gd name="connsiteX1" fmla="*/ 788987 w 2395537"/>
              <a:gd name="connsiteY1" fmla="*/ 1787525 h 1890585"/>
              <a:gd name="connsiteX2" fmla="*/ 1576387 w 2395537"/>
              <a:gd name="connsiteY2" fmla="*/ 1130300 h 1890585"/>
              <a:gd name="connsiteX3" fmla="*/ 1576387 w 2395537"/>
              <a:gd name="connsiteY3" fmla="*/ 1431925 h 1890585"/>
              <a:gd name="connsiteX4" fmla="*/ 2395537 w 2395537"/>
              <a:gd name="connsiteY4" fmla="*/ 707231 h 1890585"/>
              <a:gd name="connsiteX5" fmla="*/ 1570037 w 2395537"/>
              <a:gd name="connsiteY5" fmla="*/ 0 h 1890585"/>
              <a:gd name="connsiteX6" fmla="*/ 1570037 w 2395537"/>
              <a:gd name="connsiteY6" fmla="*/ 301625 h 1890585"/>
              <a:gd name="connsiteX7" fmla="*/ 533400 w 2395537"/>
              <a:gd name="connsiteY7" fmla="*/ 701675 h 1890585"/>
              <a:gd name="connsiteX8" fmla="*/ 0 w 2395537"/>
              <a:gd name="connsiteY8" fmla="*/ 1664493 h 1890585"/>
              <a:gd name="connsiteX0" fmla="*/ 0 w 2395537"/>
              <a:gd name="connsiteY0" fmla="*/ 1664493 h 1898848"/>
              <a:gd name="connsiteX1" fmla="*/ 665956 w 2395537"/>
              <a:gd name="connsiteY1" fmla="*/ 1887538 h 1898848"/>
              <a:gd name="connsiteX2" fmla="*/ 788987 w 2395537"/>
              <a:gd name="connsiteY2" fmla="*/ 1787525 h 1898848"/>
              <a:gd name="connsiteX3" fmla="*/ 1576387 w 2395537"/>
              <a:gd name="connsiteY3" fmla="*/ 1130300 h 1898848"/>
              <a:gd name="connsiteX4" fmla="*/ 1576387 w 2395537"/>
              <a:gd name="connsiteY4" fmla="*/ 1431925 h 1898848"/>
              <a:gd name="connsiteX5" fmla="*/ 2395537 w 2395537"/>
              <a:gd name="connsiteY5" fmla="*/ 707231 h 1898848"/>
              <a:gd name="connsiteX6" fmla="*/ 1570037 w 2395537"/>
              <a:gd name="connsiteY6" fmla="*/ 0 h 1898848"/>
              <a:gd name="connsiteX7" fmla="*/ 1570037 w 2395537"/>
              <a:gd name="connsiteY7" fmla="*/ 301625 h 1898848"/>
              <a:gd name="connsiteX8" fmla="*/ 533400 w 2395537"/>
              <a:gd name="connsiteY8" fmla="*/ 701675 h 1898848"/>
              <a:gd name="connsiteX9" fmla="*/ 0 w 2395537"/>
              <a:gd name="connsiteY9" fmla="*/ 1664493 h 1898848"/>
              <a:gd name="connsiteX0" fmla="*/ 0 w 2395537"/>
              <a:gd name="connsiteY0" fmla="*/ 1664493 h 1787534"/>
              <a:gd name="connsiteX1" fmla="*/ 375444 w 2395537"/>
              <a:gd name="connsiteY1" fmla="*/ 1146970 h 1787534"/>
              <a:gd name="connsiteX2" fmla="*/ 788987 w 2395537"/>
              <a:gd name="connsiteY2" fmla="*/ 1787525 h 1787534"/>
              <a:gd name="connsiteX3" fmla="*/ 1576387 w 2395537"/>
              <a:gd name="connsiteY3" fmla="*/ 1130300 h 1787534"/>
              <a:gd name="connsiteX4" fmla="*/ 1576387 w 2395537"/>
              <a:gd name="connsiteY4" fmla="*/ 1431925 h 1787534"/>
              <a:gd name="connsiteX5" fmla="*/ 2395537 w 2395537"/>
              <a:gd name="connsiteY5" fmla="*/ 707231 h 1787534"/>
              <a:gd name="connsiteX6" fmla="*/ 1570037 w 2395537"/>
              <a:gd name="connsiteY6" fmla="*/ 0 h 1787534"/>
              <a:gd name="connsiteX7" fmla="*/ 1570037 w 2395537"/>
              <a:gd name="connsiteY7" fmla="*/ 301625 h 1787534"/>
              <a:gd name="connsiteX8" fmla="*/ 533400 w 2395537"/>
              <a:gd name="connsiteY8" fmla="*/ 701675 h 1787534"/>
              <a:gd name="connsiteX9" fmla="*/ 0 w 2395537"/>
              <a:gd name="connsiteY9" fmla="*/ 1664493 h 1787534"/>
              <a:gd name="connsiteX0" fmla="*/ 0 w 2395537"/>
              <a:gd name="connsiteY0" fmla="*/ 1664493 h 1808858"/>
              <a:gd name="connsiteX1" fmla="*/ 375444 w 2395537"/>
              <a:gd name="connsiteY1" fmla="*/ 1146970 h 1808858"/>
              <a:gd name="connsiteX2" fmla="*/ 788987 w 2395537"/>
              <a:gd name="connsiteY2" fmla="*/ 1787525 h 1808858"/>
              <a:gd name="connsiteX3" fmla="*/ 1576387 w 2395537"/>
              <a:gd name="connsiteY3" fmla="*/ 1130300 h 1808858"/>
              <a:gd name="connsiteX4" fmla="*/ 1576387 w 2395537"/>
              <a:gd name="connsiteY4" fmla="*/ 1431925 h 1808858"/>
              <a:gd name="connsiteX5" fmla="*/ 2395537 w 2395537"/>
              <a:gd name="connsiteY5" fmla="*/ 707231 h 1808858"/>
              <a:gd name="connsiteX6" fmla="*/ 1570037 w 2395537"/>
              <a:gd name="connsiteY6" fmla="*/ 0 h 1808858"/>
              <a:gd name="connsiteX7" fmla="*/ 1570037 w 2395537"/>
              <a:gd name="connsiteY7" fmla="*/ 301625 h 1808858"/>
              <a:gd name="connsiteX8" fmla="*/ 533400 w 2395537"/>
              <a:gd name="connsiteY8" fmla="*/ 701675 h 1808858"/>
              <a:gd name="connsiteX9" fmla="*/ 0 w 2395537"/>
              <a:gd name="connsiteY9" fmla="*/ 1664493 h 1808858"/>
              <a:gd name="connsiteX0" fmla="*/ 0 w 2395537"/>
              <a:gd name="connsiteY0" fmla="*/ 1664493 h 1698249"/>
              <a:gd name="connsiteX1" fmla="*/ 375444 w 2395537"/>
              <a:gd name="connsiteY1" fmla="*/ 1146970 h 1698249"/>
              <a:gd name="connsiteX2" fmla="*/ 827087 w 2395537"/>
              <a:gd name="connsiteY2" fmla="*/ 1647031 h 1698249"/>
              <a:gd name="connsiteX3" fmla="*/ 1576387 w 2395537"/>
              <a:gd name="connsiteY3" fmla="*/ 1130300 h 1698249"/>
              <a:gd name="connsiteX4" fmla="*/ 1576387 w 2395537"/>
              <a:gd name="connsiteY4" fmla="*/ 1431925 h 1698249"/>
              <a:gd name="connsiteX5" fmla="*/ 2395537 w 2395537"/>
              <a:gd name="connsiteY5" fmla="*/ 707231 h 1698249"/>
              <a:gd name="connsiteX6" fmla="*/ 1570037 w 2395537"/>
              <a:gd name="connsiteY6" fmla="*/ 0 h 1698249"/>
              <a:gd name="connsiteX7" fmla="*/ 1570037 w 2395537"/>
              <a:gd name="connsiteY7" fmla="*/ 301625 h 1698249"/>
              <a:gd name="connsiteX8" fmla="*/ 533400 w 2395537"/>
              <a:gd name="connsiteY8" fmla="*/ 701675 h 1698249"/>
              <a:gd name="connsiteX9" fmla="*/ 0 w 2395537"/>
              <a:gd name="connsiteY9" fmla="*/ 1664493 h 1698249"/>
              <a:gd name="connsiteX0" fmla="*/ 0 w 2395537"/>
              <a:gd name="connsiteY0" fmla="*/ 1664493 h 1698249"/>
              <a:gd name="connsiteX1" fmla="*/ 375444 w 2395537"/>
              <a:gd name="connsiteY1" fmla="*/ 1146970 h 1698249"/>
              <a:gd name="connsiteX2" fmla="*/ 827087 w 2395537"/>
              <a:gd name="connsiteY2" fmla="*/ 1647031 h 1698249"/>
              <a:gd name="connsiteX3" fmla="*/ 1118393 w 2395537"/>
              <a:gd name="connsiteY3" fmla="*/ 1382713 h 1698249"/>
              <a:gd name="connsiteX4" fmla="*/ 1576387 w 2395537"/>
              <a:gd name="connsiteY4" fmla="*/ 1130300 h 1698249"/>
              <a:gd name="connsiteX5" fmla="*/ 1576387 w 2395537"/>
              <a:gd name="connsiteY5" fmla="*/ 1431925 h 1698249"/>
              <a:gd name="connsiteX6" fmla="*/ 2395537 w 2395537"/>
              <a:gd name="connsiteY6" fmla="*/ 707231 h 1698249"/>
              <a:gd name="connsiteX7" fmla="*/ 1570037 w 2395537"/>
              <a:gd name="connsiteY7" fmla="*/ 0 h 1698249"/>
              <a:gd name="connsiteX8" fmla="*/ 1570037 w 2395537"/>
              <a:gd name="connsiteY8" fmla="*/ 301625 h 1698249"/>
              <a:gd name="connsiteX9" fmla="*/ 533400 w 2395537"/>
              <a:gd name="connsiteY9" fmla="*/ 701675 h 1698249"/>
              <a:gd name="connsiteX10" fmla="*/ 0 w 2395537"/>
              <a:gd name="connsiteY10" fmla="*/ 1664493 h 1698249"/>
              <a:gd name="connsiteX0" fmla="*/ 0 w 2395537"/>
              <a:gd name="connsiteY0" fmla="*/ 1664493 h 1698249"/>
              <a:gd name="connsiteX1" fmla="*/ 375444 w 2395537"/>
              <a:gd name="connsiteY1" fmla="*/ 1146970 h 1698249"/>
              <a:gd name="connsiteX2" fmla="*/ 827087 w 2395537"/>
              <a:gd name="connsiteY2" fmla="*/ 1647031 h 1698249"/>
              <a:gd name="connsiteX3" fmla="*/ 1089818 w 2395537"/>
              <a:gd name="connsiteY3" fmla="*/ 1301750 h 1698249"/>
              <a:gd name="connsiteX4" fmla="*/ 1576387 w 2395537"/>
              <a:gd name="connsiteY4" fmla="*/ 1130300 h 1698249"/>
              <a:gd name="connsiteX5" fmla="*/ 1576387 w 2395537"/>
              <a:gd name="connsiteY5" fmla="*/ 1431925 h 1698249"/>
              <a:gd name="connsiteX6" fmla="*/ 2395537 w 2395537"/>
              <a:gd name="connsiteY6" fmla="*/ 707231 h 1698249"/>
              <a:gd name="connsiteX7" fmla="*/ 1570037 w 2395537"/>
              <a:gd name="connsiteY7" fmla="*/ 0 h 1698249"/>
              <a:gd name="connsiteX8" fmla="*/ 1570037 w 2395537"/>
              <a:gd name="connsiteY8" fmla="*/ 301625 h 1698249"/>
              <a:gd name="connsiteX9" fmla="*/ 533400 w 2395537"/>
              <a:gd name="connsiteY9" fmla="*/ 701675 h 1698249"/>
              <a:gd name="connsiteX10" fmla="*/ 0 w 2395537"/>
              <a:gd name="connsiteY10" fmla="*/ 1664493 h 1698249"/>
              <a:gd name="connsiteX0" fmla="*/ 0 w 2395537"/>
              <a:gd name="connsiteY0" fmla="*/ 1664493 h 1698249"/>
              <a:gd name="connsiteX1" fmla="*/ 375444 w 2395537"/>
              <a:gd name="connsiteY1" fmla="*/ 1146970 h 1698249"/>
              <a:gd name="connsiteX2" fmla="*/ 827087 w 2395537"/>
              <a:gd name="connsiteY2" fmla="*/ 1647031 h 1698249"/>
              <a:gd name="connsiteX3" fmla="*/ 1089818 w 2395537"/>
              <a:gd name="connsiteY3" fmla="*/ 1301750 h 1698249"/>
              <a:gd name="connsiteX4" fmla="*/ 1576387 w 2395537"/>
              <a:gd name="connsiteY4" fmla="*/ 1130300 h 1698249"/>
              <a:gd name="connsiteX5" fmla="*/ 1576387 w 2395537"/>
              <a:gd name="connsiteY5" fmla="*/ 1431925 h 1698249"/>
              <a:gd name="connsiteX6" fmla="*/ 2395537 w 2395537"/>
              <a:gd name="connsiteY6" fmla="*/ 707231 h 1698249"/>
              <a:gd name="connsiteX7" fmla="*/ 1570037 w 2395537"/>
              <a:gd name="connsiteY7" fmla="*/ 0 h 1698249"/>
              <a:gd name="connsiteX8" fmla="*/ 1570037 w 2395537"/>
              <a:gd name="connsiteY8" fmla="*/ 301625 h 1698249"/>
              <a:gd name="connsiteX9" fmla="*/ 533400 w 2395537"/>
              <a:gd name="connsiteY9" fmla="*/ 701675 h 1698249"/>
              <a:gd name="connsiteX10" fmla="*/ 0 w 2395537"/>
              <a:gd name="connsiteY10" fmla="*/ 1664493 h 1698249"/>
              <a:gd name="connsiteX0" fmla="*/ 0 w 2395537"/>
              <a:gd name="connsiteY0" fmla="*/ 1664493 h 1698249"/>
              <a:gd name="connsiteX1" fmla="*/ 375444 w 2395537"/>
              <a:gd name="connsiteY1" fmla="*/ 1146970 h 1698249"/>
              <a:gd name="connsiteX2" fmla="*/ 711200 w 2395537"/>
              <a:gd name="connsiteY2" fmla="*/ 1566069 h 1698249"/>
              <a:gd name="connsiteX3" fmla="*/ 827087 w 2395537"/>
              <a:gd name="connsiteY3" fmla="*/ 1647031 h 1698249"/>
              <a:gd name="connsiteX4" fmla="*/ 1089818 w 2395537"/>
              <a:gd name="connsiteY4" fmla="*/ 1301750 h 1698249"/>
              <a:gd name="connsiteX5" fmla="*/ 1576387 w 2395537"/>
              <a:gd name="connsiteY5" fmla="*/ 1130300 h 1698249"/>
              <a:gd name="connsiteX6" fmla="*/ 1576387 w 2395537"/>
              <a:gd name="connsiteY6" fmla="*/ 1431925 h 1698249"/>
              <a:gd name="connsiteX7" fmla="*/ 2395537 w 2395537"/>
              <a:gd name="connsiteY7" fmla="*/ 707231 h 1698249"/>
              <a:gd name="connsiteX8" fmla="*/ 1570037 w 2395537"/>
              <a:gd name="connsiteY8" fmla="*/ 0 h 1698249"/>
              <a:gd name="connsiteX9" fmla="*/ 1570037 w 2395537"/>
              <a:gd name="connsiteY9" fmla="*/ 301625 h 1698249"/>
              <a:gd name="connsiteX10" fmla="*/ 533400 w 2395537"/>
              <a:gd name="connsiteY10" fmla="*/ 701675 h 1698249"/>
              <a:gd name="connsiteX11" fmla="*/ 0 w 2395537"/>
              <a:gd name="connsiteY11" fmla="*/ 1664493 h 1698249"/>
              <a:gd name="connsiteX0" fmla="*/ 0 w 2395537"/>
              <a:gd name="connsiteY0" fmla="*/ 1664493 h 1698249"/>
              <a:gd name="connsiteX1" fmla="*/ 375444 w 2395537"/>
              <a:gd name="connsiteY1" fmla="*/ 1146970 h 1698249"/>
              <a:gd name="connsiteX2" fmla="*/ 644525 w 2395537"/>
              <a:gd name="connsiteY2" fmla="*/ 1447006 h 1698249"/>
              <a:gd name="connsiteX3" fmla="*/ 827087 w 2395537"/>
              <a:gd name="connsiteY3" fmla="*/ 1647031 h 1698249"/>
              <a:gd name="connsiteX4" fmla="*/ 1089818 w 2395537"/>
              <a:gd name="connsiteY4" fmla="*/ 1301750 h 1698249"/>
              <a:gd name="connsiteX5" fmla="*/ 1576387 w 2395537"/>
              <a:gd name="connsiteY5" fmla="*/ 1130300 h 1698249"/>
              <a:gd name="connsiteX6" fmla="*/ 1576387 w 2395537"/>
              <a:gd name="connsiteY6" fmla="*/ 1431925 h 1698249"/>
              <a:gd name="connsiteX7" fmla="*/ 2395537 w 2395537"/>
              <a:gd name="connsiteY7" fmla="*/ 707231 h 1698249"/>
              <a:gd name="connsiteX8" fmla="*/ 1570037 w 2395537"/>
              <a:gd name="connsiteY8" fmla="*/ 0 h 1698249"/>
              <a:gd name="connsiteX9" fmla="*/ 1570037 w 2395537"/>
              <a:gd name="connsiteY9" fmla="*/ 301625 h 1698249"/>
              <a:gd name="connsiteX10" fmla="*/ 533400 w 2395537"/>
              <a:gd name="connsiteY10" fmla="*/ 701675 h 1698249"/>
              <a:gd name="connsiteX11" fmla="*/ 0 w 2395537"/>
              <a:gd name="connsiteY11" fmla="*/ 1664493 h 1698249"/>
              <a:gd name="connsiteX0" fmla="*/ 0 w 2395537"/>
              <a:gd name="connsiteY0" fmla="*/ 1664493 h 1698249"/>
              <a:gd name="connsiteX1" fmla="*/ 375444 w 2395537"/>
              <a:gd name="connsiteY1" fmla="*/ 1146970 h 1698249"/>
              <a:gd name="connsiteX2" fmla="*/ 644525 w 2395537"/>
              <a:gd name="connsiteY2" fmla="*/ 1447006 h 1698249"/>
              <a:gd name="connsiteX3" fmla="*/ 827087 w 2395537"/>
              <a:gd name="connsiteY3" fmla="*/ 1647031 h 1698249"/>
              <a:gd name="connsiteX4" fmla="*/ 1089818 w 2395537"/>
              <a:gd name="connsiteY4" fmla="*/ 1301750 h 1698249"/>
              <a:gd name="connsiteX5" fmla="*/ 1576387 w 2395537"/>
              <a:gd name="connsiteY5" fmla="*/ 1130300 h 1698249"/>
              <a:gd name="connsiteX6" fmla="*/ 1576387 w 2395537"/>
              <a:gd name="connsiteY6" fmla="*/ 1431925 h 1698249"/>
              <a:gd name="connsiteX7" fmla="*/ 2395537 w 2395537"/>
              <a:gd name="connsiteY7" fmla="*/ 707231 h 1698249"/>
              <a:gd name="connsiteX8" fmla="*/ 1570037 w 2395537"/>
              <a:gd name="connsiteY8" fmla="*/ 0 h 1698249"/>
              <a:gd name="connsiteX9" fmla="*/ 1570037 w 2395537"/>
              <a:gd name="connsiteY9" fmla="*/ 301625 h 1698249"/>
              <a:gd name="connsiteX10" fmla="*/ 533400 w 2395537"/>
              <a:gd name="connsiteY10" fmla="*/ 701675 h 1698249"/>
              <a:gd name="connsiteX11" fmla="*/ 0 w 2395537"/>
              <a:gd name="connsiteY11" fmla="*/ 1664493 h 1698249"/>
              <a:gd name="connsiteX0" fmla="*/ 0 w 2395537"/>
              <a:gd name="connsiteY0" fmla="*/ 1664493 h 1698249"/>
              <a:gd name="connsiteX1" fmla="*/ 375444 w 2395537"/>
              <a:gd name="connsiteY1" fmla="*/ 1146970 h 1698249"/>
              <a:gd name="connsiteX2" fmla="*/ 644525 w 2395537"/>
              <a:gd name="connsiteY2" fmla="*/ 1447006 h 1698249"/>
              <a:gd name="connsiteX3" fmla="*/ 827087 w 2395537"/>
              <a:gd name="connsiteY3" fmla="*/ 1647031 h 1698249"/>
              <a:gd name="connsiteX4" fmla="*/ 1089818 w 2395537"/>
              <a:gd name="connsiteY4" fmla="*/ 1301750 h 1698249"/>
              <a:gd name="connsiteX5" fmla="*/ 1576387 w 2395537"/>
              <a:gd name="connsiteY5" fmla="*/ 1130300 h 1698249"/>
              <a:gd name="connsiteX6" fmla="*/ 1576387 w 2395537"/>
              <a:gd name="connsiteY6" fmla="*/ 1431925 h 1698249"/>
              <a:gd name="connsiteX7" fmla="*/ 2395537 w 2395537"/>
              <a:gd name="connsiteY7" fmla="*/ 707231 h 1698249"/>
              <a:gd name="connsiteX8" fmla="*/ 1570037 w 2395537"/>
              <a:gd name="connsiteY8" fmla="*/ 0 h 1698249"/>
              <a:gd name="connsiteX9" fmla="*/ 1570037 w 2395537"/>
              <a:gd name="connsiteY9" fmla="*/ 301625 h 1698249"/>
              <a:gd name="connsiteX10" fmla="*/ 533400 w 2395537"/>
              <a:gd name="connsiteY10" fmla="*/ 701675 h 1698249"/>
              <a:gd name="connsiteX11" fmla="*/ 0 w 2395537"/>
              <a:gd name="connsiteY11" fmla="*/ 1664493 h 1698249"/>
              <a:gd name="connsiteX0" fmla="*/ 0 w 2395537"/>
              <a:gd name="connsiteY0" fmla="*/ 1664493 h 1698249"/>
              <a:gd name="connsiteX1" fmla="*/ 375444 w 2395537"/>
              <a:gd name="connsiteY1" fmla="*/ 1146970 h 1698249"/>
              <a:gd name="connsiteX2" fmla="*/ 644525 w 2395537"/>
              <a:gd name="connsiteY2" fmla="*/ 1447006 h 1698249"/>
              <a:gd name="connsiteX3" fmla="*/ 827087 w 2395537"/>
              <a:gd name="connsiteY3" fmla="*/ 1647031 h 1698249"/>
              <a:gd name="connsiteX4" fmla="*/ 1089818 w 2395537"/>
              <a:gd name="connsiteY4" fmla="*/ 1301750 h 1698249"/>
              <a:gd name="connsiteX5" fmla="*/ 1576387 w 2395537"/>
              <a:gd name="connsiteY5" fmla="*/ 1130300 h 1698249"/>
              <a:gd name="connsiteX6" fmla="*/ 1576387 w 2395537"/>
              <a:gd name="connsiteY6" fmla="*/ 1431925 h 1698249"/>
              <a:gd name="connsiteX7" fmla="*/ 2395537 w 2395537"/>
              <a:gd name="connsiteY7" fmla="*/ 707231 h 1698249"/>
              <a:gd name="connsiteX8" fmla="*/ 1570037 w 2395537"/>
              <a:gd name="connsiteY8" fmla="*/ 0 h 1698249"/>
              <a:gd name="connsiteX9" fmla="*/ 1570037 w 2395537"/>
              <a:gd name="connsiteY9" fmla="*/ 301625 h 1698249"/>
              <a:gd name="connsiteX10" fmla="*/ 533400 w 2395537"/>
              <a:gd name="connsiteY10" fmla="*/ 701675 h 1698249"/>
              <a:gd name="connsiteX11" fmla="*/ 0 w 2395537"/>
              <a:gd name="connsiteY11" fmla="*/ 1664493 h 1698249"/>
              <a:gd name="connsiteX0" fmla="*/ 0 w 2395537"/>
              <a:gd name="connsiteY0" fmla="*/ 1664493 h 1698249"/>
              <a:gd name="connsiteX1" fmla="*/ 375444 w 2395537"/>
              <a:gd name="connsiteY1" fmla="*/ 1146970 h 1698249"/>
              <a:gd name="connsiteX2" fmla="*/ 644525 w 2395537"/>
              <a:gd name="connsiteY2" fmla="*/ 1447006 h 1698249"/>
              <a:gd name="connsiteX3" fmla="*/ 827087 w 2395537"/>
              <a:gd name="connsiteY3" fmla="*/ 1647031 h 1698249"/>
              <a:gd name="connsiteX4" fmla="*/ 1089818 w 2395537"/>
              <a:gd name="connsiteY4" fmla="*/ 1301750 h 1698249"/>
              <a:gd name="connsiteX5" fmla="*/ 1576387 w 2395537"/>
              <a:gd name="connsiteY5" fmla="*/ 1130300 h 1698249"/>
              <a:gd name="connsiteX6" fmla="*/ 1576387 w 2395537"/>
              <a:gd name="connsiteY6" fmla="*/ 1431925 h 1698249"/>
              <a:gd name="connsiteX7" fmla="*/ 2395537 w 2395537"/>
              <a:gd name="connsiteY7" fmla="*/ 707231 h 1698249"/>
              <a:gd name="connsiteX8" fmla="*/ 1570037 w 2395537"/>
              <a:gd name="connsiteY8" fmla="*/ 0 h 1698249"/>
              <a:gd name="connsiteX9" fmla="*/ 1570037 w 2395537"/>
              <a:gd name="connsiteY9" fmla="*/ 301625 h 1698249"/>
              <a:gd name="connsiteX10" fmla="*/ 533400 w 2395537"/>
              <a:gd name="connsiteY10" fmla="*/ 701675 h 1698249"/>
              <a:gd name="connsiteX11" fmla="*/ 0 w 2395537"/>
              <a:gd name="connsiteY11" fmla="*/ 1664493 h 1698249"/>
              <a:gd name="connsiteX0" fmla="*/ 0 w 2395537"/>
              <a:gd name="connsiteY0" fmla="*/ 1664493 h 1698249"/>
              <a:gd name="connsiteX1" fmla="*/ 375444 w 2395537"/>
              <a:gd name="connsiteY1" fmla="*/ 1146970 h 1698249"/>
              <a:gd name="connsiteX2" fmla="*/ 644525 w 2395537"/>
              <a:gd name="connsiteY2" fmla="*/ 1447006 h 1698249"/>
              <a:gd name="connsiteX3" fmla="*/ 827087 w 2395537"/>
              <a:gd name="connsiteY3" fmla="*/ 1647031 h 1698249"/>
              <a:gd name="connsiteX4" fmla="*/ 1089818 w 2395537"/>
              <a:gd name="connsiteY4" fmla="*/ 1301750 h 1698249"/>
              <a:gd name="connsiteX5" fmla="*/ 1576387 w 2395537"/>
              <a:gd name="connsiteY5" fmla="*/ 1130300 h 1698249"/>
              <a:gd name="connsiteX6" fmla="*/ 1576387 w 2395537"/>
              <a:gd name="connsiteY6" fmla="*/ 1431925 h 1698249"/>
              <a:gd name="connsiteX7" fmla="*/ 2395537 w 2395537"/>
              <a:gd name="connsiteY7" fmla="*/ 707231 h 1698249"/>
              <a:gd name="connsiteX8" fmla="*/ 1570037 w 2395537"/>
              <a:gd name="connsiteY8" fmla="*/ 0 h 1698249"/>
              <a:gd name="connsiteX9" fmla="*/ 1570037 w 2395537"/>
              <a:gd name="connsiteY9" fmla="*/ 301625 h 1698249"/>
              <a:gd name="connsiteX10" fmla="*/ 533400 w 2395537"/>
              <a:gd name="connsiteY10" fmla="*/ 701675 h 1698249"/>
              <a:gd name="connsiteX11" fmla="*/ 0 w 2395537"/>
              <a:gd name="connsiteY11" fmla="*/ 1664493 h 1698249"/>
              <a:gd name="connsiteX0" fmla="*/ 0 w 2395537"/>
              <a:gd name="connsiteY0" fmla="*/ 1664493 h 1700812"/>
              <a:gd name="connsiteX1" fmla="*/ 375444 w 2395537"/>
              <a:gd name="connsiteY1" fmla="*/ 1146970 h 1700812"/>
              <a:gd name="connsiteX2" fmla="*/ 644525 w 2395537"/>
              <a:gd name="connsiteY2" fmla="*/ 1447006 h 1700812"/>
              <a:gd name="connsiteX3" fmla="*/ 827087 w 2395537"/>
              <a:gd name="connsiteY3" fmla="*/ 1647031 h 1700812"/>
              <a:gd name="connsiteX4" fmla="*/ 1089818 w 2395537"/>
              <a:gd name="connsiteY4" fmla="*/ 1301750 h 1700812"/>
              <a:gd name="connsiteX5" fmla="*/ 1576387 w 2395537"/>
              <a:gd name="connsiteY5" fmla="*/ 1130300 h 1700812"/>
              <a:gd name="connsiteX6" fmla="*/ 1576387 w 2395537"/>
              <a:gd name="connsiteY6" fmla="*/ 1431925 h 1700812"/>
              <a:gd name="connsiteX7" fmla="*/ 2395537 w 2395537"/>
              <a:gd name="connsiteY7" fmla="*/ 707231 h 1700812"/>
              <a:gd name="connsiteX8" fmla="*/ 1570037 w 2395537"/>
              <a:gd name="connsiteY8" fmla="*/ 0 h 1700812"/>
              <a:gd name="connsiteX9" fmla="*/ 1570037 w 2395537"/>
              <a:gd name="connsiteY9" fmla="*/ 301625 h 1700812"/>
              <a:gd name="connsiteX10" fmla="*/ 533400 w 2395537"/>
              <a:gd name="connsiteY10" fmla="*/ 701675 h 1700812"/>
              <a:gd name="connsiteX11" fmla="*/ 0 w 2395537"/>
              <a:gd name="connsiteY11" fmla="*/ 1664493 h 1700812"/>
              <a:gd name="connsiteX0" fmla="*/ 42777 w 2438314"/>
              <a:gd name="connsiteY0" fmla="*/ 1664493 h 1700812"/>
              <a:gd name="connsiteX1" fmla="*/ 418221 w 2438314"/>
              <a:gd name="connsiteY1" fmla="*/ 1146970 h 1700812"/>
              <a:gd name="connsiteX2" fmla="*/ 687302 w 2438314"/>
              <a:gd name="connsiteY2" fmla="*/ 1447006 h 1700812"/>
              <a:gd name="connsiteX3" fmla="*/ 869864 w 2438314"/>
              <a:gd name="connsiteY3" fmla="*/ 1647031 h 1700812"/>
              <a:gd name="connsiteX4" fmla="*/ 1132595 w 2438314"/>
              <a:gd name="connsiteY4" fmla="*/ 1301750 h 1700812"/>
              <a:gd name="connsiteX5" fmla="*/ 1619164 w 2438314"/>
              <a:gd name="connsiteY5" fmla="*/ 1130300 h 1700812"/>
              <a:gd name="connsiteX6" fmla="*/ 1619164 w 2438314"/>
              <a:gd name="connsiteY6" fmla="*/ 1431925 h 1700812"/>
              <a:gd name="connsiteX7" fmla="*/ 2438314 w 2438314"/>
              <a:gd name="connsiteY7" fmla="*/ 707231 h 1700812"/>
              <a:gd name="connsiteX8" fmla="*/ 1612814 w 2438314"/>
              <a:gd name="connsiteY8" fmla="*/ 0 h 1700812"/>
              <a:gd name="connsiteX9" fmla="*/ 1612814 w 2438314"/>
              <a:gd name="connsiteY9" fmla="*/ 301625 h 1700812"/>
              <a:gd name="connsiteX10" fmla="*/ 576177 w 2438314"/>
              <a:gd name="connsiteY10" fmla="*/ 701675 h 1700812"/>
              <a:gd name="connsiteX11" fmla="*/ 68178 w 2438314"/>
              <a:gd name="connsiteY11" fmla="*/ 1539874 h 1700812"/>
              <a:gd name="connsiteX12" fmla="*/ 42777 w 2438314"/>
              <a:gd name="connsiteY12" fmla="*/ 1664493 h 1700812"/>
              <a:gd name="connsiteX0" fmla="*/ 179229 w 2393791"/>
              <a:gd name="connsiteY0" fmla="*/ 1357311 h 1647287"/>
              <a:gd name="connsiteX1" fmla="*/ 373698 w 2393791"/>
              <a:gd name="connsiteY1" fmla="*/ 1146970 h 1647287"/>
              <a:gd name="connsiteX2" fmla="*/ 642779 w 2393791"/>
              <a:gd name="connsiteY2" fmla="*/ 1447006 h 1647287"/>
              <a:gd name="connsiteX3" fmla="*/ 825341 w 2393791"/>
              <a:gd name="connsiteY3" fmla="*/ 1647031 h 1647287"/>
              <a:gd name="connsiteX4" fmla="*/ 1088072 w 2393791"/>
              <a:gd name="connsiteY4" fmla="*/ 1301750 h 1647287"/>
              <a:gd name="connsiteX5" fmla="*/ 1574641 w 2393791"/>
              <a:gd name="connsiteY5" fmla="*/ 1130300 h 1647287"/>
              <a:gd name="connsiteX6" fmla="*/ 1574641 w 2393791"/>
              <a:gd name="connsiteY6" fmla="*/ 1431925 h 1647287"/>
              <a:gd name="connsiteX7" fmla="*/ 2393791 w 2393791"/>
              <a:gd name="connsiteY7" fmla="*/ 707231 h 1647287"/>
              <a:gd name="connsiteX8" fmla="*/ 1568291 w 2393791"/>
              <a:gd name="connsiteY8" fmla="*/ 0 h 1647287"/>
              <a:gd name="connsiteX9" fmla="*/ 1568291 w 2393791"/>
              <a:gd name="connsiteY9" fmla="*/ 301625 h 1647287"/>
              <a:gd name="connsiteX10" fmla="*/ 531654 w 2393791"/>
              <a:gd name="connsiteY10" fmla="*/ 701675 h 1647287"/>
              <a:gd name="connsiteX11" fmla="*/ 23655 w 2393791"/>
              <a:gd name="connsiteY11" fmla="*/ 1539874 h 1647287"/>
              <a:gd name="connsiteX12" fmla="*/ 179229 w 2393791"/>
              <a:gd name="connsiteY12" fmla="*/ 1357311 h 1647287"/>
              <a:gd name="connsiteX0" fmla="*/ 155574 w 2370136"/>
              <a:gd name="connsiteY0" fmla="*/ 1357311 h 1647287"/>
              <a:gd name="connsiteX1" fmla="*/ 350043 w 2370136"/>
              <a:gd name="connsiteY1" fmla="*/ 1146970 h 1647287"/>
              <a:gd name="connsiteX2" fmla="*/ 619124 w 2370136"/>
              <a:gd name="connsiteY2" fmla="*/ 1447006 h 1647287"/>
              <a:gd name="connsiteX3" fmla="*/ 801686 w 2370136"/>
              <a:gd name="connsiteY3" fmla="*/ 1647031 h 1647287"/>
              <a:gd name="connsiteX4" fmla="*/ 1064417 w 2370136"/>
              <a:gd name="connsiteY4" fmla="*/ 1301750 h 1647287"/>
              <a:gd name="connsiteX5" fmla="*/ 1550986 w 2370136"/>
              <a:gd name="connsiteY5" fmla="*/ 1130300 h 1647287"/>
              <a:gd name="connsiteX6" fmla="*/ 1550986 w 2370136"/>
              <a:gd name="connsiteY6" fmla="*/ 1431925 h 1647287"/>
              <a:gd name="connsiteX7" fmla="*/ 2370136 w 2370136"/>
              <a:gd name="connsiteY7" fmla="*/ 707231 h 1647287"/>
              <a:gd name="connsiteX8" fmla="*/ 1544636 w 2370136"/>
              <a:gd name="connsiteY8" fmla="*/ 0 h 1647287"/>
              <a:gd name="connsiteX9" fmla="*/ 1544636 w 2370136"/>
              <a:gd name="connsiteY9" fmla="*/ 301625 h 1647287"/>
              <a:gd name="connsiteX10" fmla="*/ 507999 w 2370136"/>
              <a:gd name="connsiteY10" fmla="*/ 701675 h 1647287"/>
              <a:gd name="connsiteX11" fmla="*/ 0 w 2370136"/>
              <a:gd name="connsiteY11" fmla="*/ 1539874 h 1647287"/>
              <a:gd name="connsiteX12" fmla="*/ 155574 w 2370136"/>
              <a:gd name="connsiteY12" fmla="*/ 1357311 h 1647287"/>
              <a:gd name="connsiteX0" fmla="*/ 155574 w 2370136"/>
              <a:gd name="connsiteY0" fmla="*/ 1357311 h 1647287"/>
              <a:gd name="connsiteX1" fmla="*/ 350043 w 2370136"/>
              <a:gd name="connsiteY1" fmla="*/ 1146970 h 1647287"/>
              <a:gd name="connsiteX2" fmla="*/ 619124 w 2370136"/>
              <a:gd name="connsiteY2" fmla="*/ 1447006 h 1647287"/>
              <a:gd name="connsiteX3" fmla="*/ 801686 w 2370136"/>
              <a:gd name="connsiteY3" fmla="*/ 1647031 h 1647287"/>
              <a:gd name="connsiteX4" fmla="*/ 1064417 w 2370136"/>
              <a:gd name="connsiteY4" fmla="*/ 1301750 h 1647287"/>
              <a:gd name="connsiteX5" fmla="*/ 1550986 w 2370136"/>
              <a:gd name="connsiteY5" fmla="*/ 1130300 h 1647287"/>
              <a:gd name="connsiteX6" fmla="*/ 1550986 w 2370136"/>
              <a:gd name="connsiteY6" fmla="*/ 1431925 h 1647287"/>
              <a:gd name="connsiteX7" fmla="*/ 2370136 w 2370136"/>
              <a:gd name="connsiteY7" fmla="*/ 707231 h 1647287"/>
              <a:gd name="connsiteX8" fmla="*/ 1544636 w 2370136"/>
              <a:gd name="connsiteY8" fmla="*/ 0 h 1647287"/>
              <a:gd name="connsiteX9" fmla="*/ 1544636 w 2370136"/>
              <a:gd name="connsiteY9" fmla="*/ 301625 h 1647287"/>
              <a:gd name="connsiteX10" fmla="*/ 507999 w 2370136"/>
              <a:gd name="connsiteY10" fmla="*/ 701675 h 1647287"/>
              <a:gd name="connsiteX11" fmla="*/ 0 w 2370136"/>
              <a:gd name="connsiteY11" fmla="*/ 1539874 h 1647287"/>
              <a:gd name="connsiteX12" fmla="*/ 155574 w 2370136"/>
              <a:gd name="connsiteY12" fmla="*/ 1357311 h 1647287"/>
              <a:gd name="connsiteX0" fmla="*/ 155574 w 2370136"/>
              <a:gd name="connsiteY0" fmla="*/ 1357311 h 1647287"/>
              <a:gd name="connsiteX1" fmla="*/ 350043 w 2370136"/>
              <a:gd name="connsiteY1" fmla="*/ 1146970 h 1647287"/>
              <a:gd name="connsiteX2" fmla="*/ 619124 w 2370136"/>
              <a:gd name="connsiteY2" fmla="*/ 1447006 h 1647287"/>
              <a:gd name="connsiteX3" fmla="*/ 801686 w 2370136"/>
              <a:gd name="connsiteY3" fmla="*/ 1647031 h 1647287"/>
              <a:gd name="connsiteX4" fmla="*/ 1064417 w 2370136"/>
              <a:gd name="connsiteY4" fmla="*/ 1301750 h 1647287"/>
              <a:gd name="connsiteX5" fmla="*/ 1550986 w 2370136"/>
              <a:gd name="connsiteY5" fmla="*/ 1130300 h 1647287"/>
              <a:gd name="connsiteX6" fmla="*/ 1550986 w 2370136"/>
              <a:gd name="connsiteY6" fmla="*/ 1431925 h 1647287"/>
              <a:gd name="connsiteX7" fmla="*/ 2370136 w 2370136"/>
              <a:gd name="connsiteY7" fmla="*/ 707231 h 1647287"/>
              <a:gd name="connsiteX8" fmla="*/ 1544636 w 2370136"/>
              <a:gd name="connsiteY8" fmla="*/ 0 h 1647287"/>
              <a:gd name="connsiteX9" fmla="*/ 1544636 w 2370136"/>
              <a:gd name="connsiteY9" fmla="*/ 301625 h 1647287"/>
              <a:gd name="connsiteX10" fmla="*/ 507999 w 2370136"/>
              <a:gd name="connsiteY10" fmla="*/ 701675 h 1647287"/>
              <a:gd name="connsiteX11" fmla="*/ 0 w 2370136"/>
              <a:gd name="connsiteY11" fmla="*/ 1539874 h 1647287"/>
              <a:gd name="connsiteX12" fmla="*/ 155574 w 2370136"/>
              <a:gd name="connsiteY12" fmla="*/ 1357311 h 1647287"/>
              <a:gd name="connsiteX0" fmla="*/ 155574 w 2370136"/>
              <a:gd name="connsiteY0" fmla="*/ 1357311 h 1647287"/>
              <a:gd name="connsiteX1" fmla="*/ 347662 w 2370136"/>
              <a:gd name="connsiteY1" fmla="*/ 1139826 h 1647287"/>
              <a:gd name="connsiteX2" fmla="*/ 619124 w 2370136"/>
              <a:gd name="connsiteY2" fmla="*/ 1447006 h 1647287"/>
              <a:gd name="connsiteX3" fmla="*/ 801686 w 2370136"/>
              <a:gd name="connsiteY3" fmla="*/ 1647031 h 1647287"/>
              <a:gd name="connsiteX4" fmla="*/ 1064417 w 2370136"/>
              <a:gd name="connsiteY4" fmla="*/ 1301750 h 1647287"/>
              <a:gd name="connsiteX5" fmla="*/ 1550986 w 2370136"/>
              <a:gd name="connsiteY5" fmla="*/ 1130300 h 1647287"/>
              <a:gd name="connsiteX6" fmla="*/ 1550986 w 2370136"/>
              <a:gd name="connsiteY6" fmla="*/ 1431925 h 1647287"/>
              <a:gd name="connsiteX7" fmla="*/ 2370136 w 2370136"/>
              <a:gd name="connsiteY7" fmla="*/ 707231 h 1647287"/>
              <a:gd name="connsiteX8" fmla="*/ 1544636 w 2370136"/>
              <a:gd name="connsiteY8" fmla="*/ 0 h 1647287"/>
              <a:gd name="connsiteX9" fmla="*/ 1544636 w 2370136"/>
              <a:gd name="connsiteY9" fmla="*/ 301625 h 1647287"/>
              <a:gd name="connsiteX10" fmla="*/ 507999 w 2370136"/>
              <a:gd name="connsiteY10" fmla="*/ 701675 h 1647287"/>
              <a:gd name="connsiteX11" fmla="*/ 0 w 2370136"/>
              <a:gd name="connsiteY11" fmla="*/ 1539874 h 1647287"/>
              <a:gd name="connsiteX12" fmla="*/ 155574 w 2370136"/>
              <a:gd name="connsiteY12" fmla="*/ 1357311 h 1647287"/>
              <a:gd name="connsiteX0" fmla="*/ 155574 w 2370136"/>
              <a:gd name="connsiteY0" fmla="*/ 1357311 h 1647287"/>
              <a:gd name="connsiteX1" fmla="*/ 347662 w 2370136"/>
              <a:gd name="connsiteY1" fmla="*/ 1139826 h 1647287"/>
              <a:gd name="connsiteX2" fmla="*/ 619124 w 2370136"/>
              <a:gd name="connsiteY2" fmla="*/ 1447006 h 1647287"/>
              <a:gd name="connsiteX3" fmla="*/ 801686 w 2370136"/>
              <a:gd name="connsiteY3" fmla="*/ 1647031 h 1647287"/>
              <a:gd name="connsiteX4" fmla="*/ 1064417 w 2370136"/>
              <a:gd name="connsiteY4" fmla="*/ 1301750 h 1647287"/>
              <a:gd name="connsiteX5" fmla="*/ 1550986 w 2370136"/>
              <a:gd name="connsiteY5" fmla="*/ 1130300 h 1647287"/>
              <a:gd name="connsiteX6" fmla="*/ 1550986 w 2370136"/>
              <a:gd name="connsiteY6" fmla="*/ 1431925 h 1647287"/>
              <a:gd name="connsiteX7" fmla="*/ 2370136 w 2370136"/>
              <a:gd name="connsiteY7" fmla="*/ 707231 h 1647287"/>
              <a:gd name="connsiteX8" fmla="*/ 1544636 w 2370136"/>
              <a:gd name="connsiteY8" fmla="*/ 0 h 1647287"/>
              <a:gd name="connsiteX9" fmla="*/ 1544636 w 2370136"/>
              <a:gd name="connsiteY9" fmla="*/ 301625 h 1647287"/>
              <a:gd name="connsiteX10" fmla="*/ 507999 w 2370136"/>
              <a:gd name="connsiteY10" fmla="*/ 701675 h 1647287"/>
              <a:gd name="connsiteX11" fmla="*/ 0 w 2370136"/>
              <a:gd name="connsiteY11" fmla="*/ 1539874 h 1647287"/>
              <a:gd name="connsiteX12" fmla="*/ 155574 w 2370136"/>
              <a:gd name="connsiteY12" fmla="*/ 1357311 h 1647287"/>
              <a:gd name="connsiteX0" fmla="*/ 155574 w 2370136"/>
              <a:gd name="connsiteY0" fmla="*/ 1357311 h 1647287"/>
              <a:gd name="connsiteX1" fmla="*/ 347662 w 2370136"/>
              <a:gd name="connsiteY1" fmla="*/ 1139826 h 1647287"/>
              <a:gd name="connsiteX2" fmla="*/ 619124 w 2370136"/>
              <a:gd name="connsiteY2" fmla="*/ 1447006 h 1647287"/>
              <a:gd name="connsiteX3" fmla="*/ 801686 w 2370136"/>
              <a:gd name="connsiteY3" fmla="*/ 1647031 h 1647287"/>
              <a:gd name="connsiteX4" fmla="*/ 1064417 w 2370136"/>
              <a:gd name="connsiteY4" fmla="*/ 1301750 h 1647287"/>
              <a:gd name="connsiteX5" fmla="*/ 1550986 w 2370136"/>
              <a:gd name="connsiteY5" fmla="*/ 1130300 h 1647287"/>
              <a:gd name="connsiteX6" fmla="*/ 1550986 w 2370136"/>
              <a:gd name="connsiteY6" fmla="*/ 1431925 h 1647287"/>
              <a:gd name="connsiteX7" fmla="*/ 2370136 w 2370136"/>
              <a:gd name="connsiteY7" fmla="*/ 707231 h 1647287"/>
              <a:gd name="connsiteX8" fmla="*/ 1544636 w 2370136"/>
              <a:gd name="connsiteY8" fmla="*/ 0 h 1647287"/>
              <a:gd name="connsiteX9" fmla="*/ 1544636 w 2370136"/>
              <a:gd name="connsiteY9" fmla="*/ 301625 h 1647287"/>
              <a:gd name="connsiteX10" fmla="*/ 507999 w 2370136"/>
              <a:gd name="connsiteY10" fmla="*/ 701675 h 1647287"/>
              <a:gd name="connsiteX11" fmla="*/ 0 w 2370136"/>
              <a:gd name="connsiteY11" fmla="*/ 1539874 h 1647287"/>
              <a:gd name="connsiteX12" fmla="*/ 155574 w 2370136"/>
              <a:gd name="connsiteY12" fmla="*/ 1357311 h 1647287"/>
              <a:gd name="connsiteX0" fmla="*/ 155574 w 2370136"/>
              <a:gd name="connsiteY0" fmla="*/ 1357311 h 1647287"/>
              <a:gd name="connsiteX1" fmla="*/ 347662 w 2370136"/>
              <a:gd name="connsiteY1" fmla="*/ 1139826 h 1647287"/>
              <a:gd name="connsiteX2" fmla="*/ 619124 w 2370136"/>
              <a:gd name="connsiteY2" fmla="*/ 1447006 h 1647287"/>
              <a:gd name="connsiteX3" fmla="*/ 801686 w 2370136"/>
              <a:gd name="connsiteY3" fmla="*/ 1647031 h 1647287"/>
              <a:gd name="connsiteX4" fmla="*/ 1064417 w 2370136"/>
              <a:gd name="connsiteY4" fmla="*/ 1301750 h 1647287"/>
              <a:gd name="connsiteX5" fmla="*/ 1550986 w 2370136"/>
              <a:gd name="connsiteY5" fmla="*/ 1130300 h 1647287"/>
              <a:gd name="connsiteX6" fmla="*/ 1550986 w 2370136"/>
              <a:gd name="connsiteY6" fmla="*/ 1431925 h 1647287"/>
              <a:gd name="connsiteX7" fmla="*/ 2370136 w 2370136"/>
              <a:gd name="connsiteY7" fmla="*/ 707231 h 1647287"/>
              <a:gd name="connsiteX8" fmla="*/ 1544636 w 2370136"/>
              <a:gd name="connsiteY8" fmla="*/ 0 h 1647287"/>
              <a:gd name="connsiteX9" fmla="*/ 1544636 w 2370136"/>
              <a:gd name="connsiteY9" fmla="*/ 301625 h 1647287"/>
              <a:gd name="connsiteX10" fmla="*/ 507999 w 2370136"/>
              <a:gd name="connsiteY10" fmla="*/ 701675 h 1647287"/>
              <a:gd name="connsiteX11" fmla="*/ 0 w 2370136"/>
              <a:gd name="connsiteY11" fmla="*/ 1539874 h 1647287"/>
              <a:gd name="connsiteX12" fmla="*/ 155574 w 2370136"/>
              <a:gd name="connsiteY12" fmla="*/ 1357311 h 1647287"/>
              <a:gd name="connsiteX0" fmla="*/ 155574 w 2370136"/>
              <a:gd name="connsiteY0" fmla="*/ 1357311 h 1647287"/>
              <a:gd name="connsiteX1" fmla="*/ 347662 w 2370136"/>
              <a:gd name="connsiteY1" fmla="*/ 1139826 h 1647287"/>
              <a:gd name="connsiteX2" fmla="*/ 619124 w 2370136"/>
              <a:gd name="connsiteY2" fmla="*/ 1447006 h 1647287"/>
              <a:gd name="connsiteX3" fmla="*/ 801686 w 2370136"/>
              <a:gd name="connsiteY3" fmla="*/ 1647031 h 1647287"/>
              <a:gd name="connsiteX4" fmla="*/ 1064417 w 2370136"/>
              <a:gd name="connsiteY4" fmla="*/ 1301750 h 1647287"/>
              <a:gd name="connsiteX5" fmla="*/ 1550986 w 2370136"/>
              <a:gd name="connsiteY5" fmla="*/ 1130300 h 1647287"/>
              <a:gd name="connsiteX6" fmla="*/ 1550986 w 2370136"/>
              <a:gd name="connsiteY6" fmla="*/ 1431925 h 1647287"/>
              <a:gd name="connsiteX7" fmla="*/ 2370136 w 2370136"/>
              <a:gd name="connsiteY7" fmla="*/ 707231 h 1647287"/>
              <a:gd name="connsiteX8" fmla="*/ 1544636 w 2370136"/>
              <a:gd name="connsiteY8" fmla="*/ 0 h 1647287"/>
              <a:gd name="connsiteX9" fmla="*/ 1544636 w 2370136"/>
              <a:gd name="connsiteY9" fmla="*/ 301625 h 1647287"/>
              <a:gd name="connsiteX10" fmla="*/ 507999 w 2370136"/>
              <a:gd name="connsiteY10" fmla="*/ 701675 h 1647287"/>
              <a:gd name="connsiteX11" fmla="*/ 0 w 2370136"/>
              <a:gd name="connsiteY11" fmla="*/ 1539874 h 1647287"/>
              <a:gd name="connsiteX12" fmla="*/ 155574 w 2370136"/>
              <a:gd name="connsiteY12" fmla="*/ 1357311 h 1647287"/>
              <a:gd name="connsiteX0" fmla="*/ 155574 w 2370136"/>
              <a:gd name="connsiteY0" fmla="*/ 1357311 h 1647169"/>
              <a:gd name="connsiteX1" fmla="*/ 347662 w 2370136"/>
              <a:gd name="connsiteY1" fmla="*/ 1139826 h 1647169"/>
              <a:gd name="connsiteX2" fmla="*/ 619124 w 2370136"/>
              <a:gd name="connsiteY2" fmla="*/ 1447006 h 1647169"/>
              <a:gd name="connsiteX3" fmla="*/ 801686 w 2370136"/>
              <a:gd name="connsiteY3" fmla="*/ 1647031 h 1647169"/>
              <a:gd name="connsiteX4" fmla="*/ 1064417 w 2370136"/>
              <a:gd name="connsiteY4" fmla="*/ 1301750 h 1647169"/>
              <a:gd name="connsiteX5" fmla="*/ 1550986 w 2370136"/>
              <a:gd name="connsiteY5" fmla="*/ 1130300 h 1647169"/>
              <a:gd name="connsiteX6" fmla="*/ 1550986 w 2370136"/>
              <a:gd name="connsiteY6" fmla="*/ 1431925 h 1647169"/>
              <a:gd name="connsiteX7" fmla="*/ 2370136 w 2370136"/>
              <a:gd name="connsiteY7" fmla="*/ 707231 h 1647169"/>
              <a:gd name="connsiteX8" fmla="*/ 1544636 w 2370136"/>
              <a:gd name="connsiteY8" fmla="*/ 0 h 1647169"/>
              <a:gd name="connsiteX9" fmla="*/ 1544636 w 2370136"/>
              <a:gd name="connsiteY9" fmla="*/ 301625 h 1647169"/>
              <a:gd name="connsiteX10" fmla="*/ 507999 w 2370136"/>
              <a:gd name="connsiteY10" fmla="*/ 701675 h 1647169"/>
              <a:gd name="connsiteX11" fmla="*/ 0 w 2370136"/>
              <a:gd name="connsiteY11" fmla="*/ 1539874 h 1647169"/>
              <a:gd name="connsiteX12" fmla="*/ 155574 w 2370136"/>
              <a:gd name="connsiteY12" fmla="*/ 1357311 h 1647169"/>
              <a:gd name="connsiteX0" fmla="*/ 155574 w 2370136"/>
              <a:gd name="connsiteY0" fmla="*/ 1357311 h 1647151"/>
              <a:gd name="connsiteX1" fmla="*/ 347662 w 2370136"/>
              <a:gd name="connsiteY1" fmla="*/ 1139826 h 1647151"/>
              <a:gd name="connsiteX2" fmla="*/ 619124 w 2370136"/>
              <a:gd name="connsiteY2" fmla="*/ 1447006 h 1647151"/>
              <a:gd name="connsiteX3" fmla="*/ 801686 w 2370136"/>
              <a:gd name="connsiteY3" fmla="*/ 1647031 h 1647151"/>
              <a:gd name="connsiteX4" fmla="*/ 1064417 w 2370136"/>
              <a:gd name="connsiteY4" fmla="*/ 1301750 h 1647151"/>
              <a:gd name="connsiteX5" fmla="*/ 1550986 w 2370136"/>
              <a:gd name="connsiteY5" fmla="*/ 1130300 h 1647151"/>
              <a:gd name="connsiteX6" fmla="*/ 1550986 w 2370136"/>
              <a:gd name="connsiteY6" fmla="*/ 1431925 h 1647151"/>
              <a:gd name="connsiteX7" fmla="*/ 2370136 w 2370136"/>
              <a:gd name="connsiteY7" fmla="*/ 707231 h 1647151"/>
              <a:gd name="connsiteX8" fmla="*/ 1544636 w 2370136"/>
              <a:gd name="connsiteY8" fmla="*/ 0 h 1647151"/>
              <a:gd name="connsiteX9" fmla="*/ 1544636 w 2370136"/>
              <a:gd name="connsiteY9" fmla="*/ 301625 h 1647151"/>
              <a:gd name="connsiteX10" fmla="*/ 507999 w 2370136"/>
              <a:gd name="connsiteY10" fmla="*/ 701675 h 1647151"/>
              <a:gd name="connsiteX11" fmla="*/ 0 w 2370136"/>
              <a:gd name="connsiteY11" fmla="*/ 1539874 h 1647151"/>
              <a:gd name="connsiteX12" fmla="*/ 155574 w 2370136"/>
              <a:gd name="connsiteY12" fmla="*/ 1357311 h 16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70136" h="1647151">
                <a:moveTo>
                  <a:pt x="155574" y="1357311"/>
                </a:moveTo>
                <a:cubicBezTo>
                  <a:pt x="246723" y="1264443"/>
                  <a:pt x="230451" y="1271722"/>
                  <a:pt x="347662" y="1139826"/>
                </a:cubicBezTo>
                <a:cubicBezTo>
                  <a:pt x="423332" y="1221053"/>
                  <a:pt x="543850" y="1363662"/>
                  <a:pt x="619124" y="1447006"/>
                </a:cubicBezTo>
                <a:cubicBezTo>
                  <a:pt x="694398" y="1530350"/>
                  <a:pt x="753841" y="1601590"/>
                  <a:pt x="801686" y="1647031"/>
                </a:cubicBezTo>
                <a:cubicBezTo>
                  <a:pt x="807939" y="1652970"/>
                  <a:pt x="880003" y="1437878"/>
                  <a:pt x="1064417" y="1301750"/>
                </a:cubicBezTo>
                <a:cubicBezTo>
                  <a:pt x="1189300" y="1210866"/>
                  <a:pt x="1327016" y="1134004"/>
                  <a:pt x="1550986" y="1130300"/>
                </a:cubicBezTo>
                <a:lnTo>
                  <a:pt x="1550986" y="1431925"/>
                </a:lnTo>
                <a:lnTo>
                  <a:pt x="2370136" y="707231"/>
                </a:lnTo>
                <a:lnTo>
                  <a:pt x="1544636" y="0"/>
                </a:lnTo>
                <a:lnTo>
                  <a:pt x="1544636" y="301625"/>
                </a:lnTo>
                <a:cubicBezTo>
                  <a:pt x="1210203" y="321469"/>
                  <a:pt x="884501" y="386556"/>
                  <a:pt x="507999" y="701675"/>
                </a:cubicBezTo>
                <a:cubicBezTo>
                  <a:pt x="219604" y="941387"/>
                  <a:pt x="57944" y="1324635"/>
                  <a:pt x="0" y="1539874"/>
                </a:cubicBezTo>
                <a:cubicBezTo>
                  <a:pt x="70644" y="1466981"/>
                  <a:pt x="97233" y="1422795"/>
                  <a:pt x="155574" y="1357311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635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2072670">
              <a:defRPr/>
            </a:pPr>
            <a:endParaRPr lang="en-US" sz="4080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232855" y="4342895"/>
            <a:ext cx="2637271" cy="8188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072670">
              <a:defRPr/>
            </a:pPr>
            <a:r>
              <a:rPr lang="en-US" sz="4080" b="1" kern="0" dirty="0" smtClean="0">
                <a:solidFill>
                  <a:schemeClr val="bg1"/>
                </a:solidFill>
              </a:rPr>
              <a:t>OPERATE</a:t>
            </a:r>
            <a:endParaRPr lang="en-US" sz="4080" b="1" kern="0" dirty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6110971" y="5879511"/>
            <a:ext cx="1991124" cy="6760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072670">
              <a:defRPr/>
            </a:pPr>
            <a:r>
              <a:rPr lang="en-US" sz="4080" b="1" kern="0" dirty="0" smtClean="0">
                <a:solidFill>
                  <a:schemeClr val="bg1"/>
                </a:solidFill>
              </a:rPr>
              <a:t>BUILD </a:t>
            </a:r>
          </a:p>
          <a:p>
            <a:pPr algn="ctr" defTabSz="2072670">
              <a:defRPr/>
            </a:pPr>
            <a:r>
              <a:rPr lang="en-US" sz="4080" b="1" kern="0" dirty="0" smtClean="0">
                <a:solidFill>
                  <a:schemeClr val="bg1"/>
                </a:solidFill>
              </a:rPr>
              <a:t>&amp;</a:t>
            </a:r>
          </a:p>
          <a:p>
            <a:pPr algn="ctr" defTabSz="2072670">
              <a:defRPr/>
            </a:pPr>
            <a:r>
              <a:rPr lang="en-US" sz="4080" b="1" kern="0" dirty="0" smtClean="0">
                <a:solidFill>
                  <a:schemeClr val="bg1"/>
                </a:solidFill>
              </a:rPr>
              <a:t>INSPECT</a:t>
            </a:r>
            <a:endParaRPr lang="en-US" sz="4080" b="1" kern="0" dirty="0">
              <a:solidFill>
                <a:schemeClr val="bg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9348590" y="9053475"/>
            <a:ext cx="2386210" cy="8188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072670">
              <a:defRPr/>
            </a:pPr>
            <a:r>
              <a:rPr lang="en-US" sz="4080" b="1" kern="0" dirty="0" smtClean="0">
                <a:solidFill>
                  <a:schemeClr val="bg1"/>
                </a:solidFill>
              </a:rPr>
              <a:t>DEPLOY</a:t>
            </a:r>
            <a:endParaRPr lang="en-US" sz="4080" b="1" kern="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2754635" y="10860873"/>
            <a:ext cx="4058990" cy="724254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2072670">
              <a:defRPr/>
            </a:pPr>
            <a:r>
              <a:rPr lang="en-US" sz="4080" b="1" kern="0" dirty="0" smtClean="0">
                <a:solidFill>
                  <a:schemeClr val="bg1"/>
                </a:solidFill>
              </a:rPr>
              <a:t>TEST </a:t>
            </a:r>
          </a:p>
          <a:p>
            <a:pPr algn="ctr" defTabSz="2072670">
              <a:defRPr/>
            </a:pPr>
            <a:r>
              <a:rPr lang="en-US" sz="4080" b="1" kern="0" dirty="0" smtClean="0">
                <a:solidFill>
                  <a:schemeClr val="bg1"/>
                </a:solidFill>
              </a:rPr>
              <a:t>&amp; </a:t>
            </a:r>
          </a:p>
          <a:p>
            <a:pPr algn="ctr" defTabSz="2072670">
              <a:defRPr/>
            </a:pPr>
            <a:r>
              <a:rPr lang="en-US" sz="4080" b="1" kern="0" dirty="0" smtClean="0">
                <a:solidFill>
                  <a:schemeClr val="bg1"/>
                </a:solidFill>
              </a:rPr>
              <a:t>ARCHIVE</a:t>
            </a:r>
            <a:endParaRPr lang="en-US" sz="4080" b="1" kern="0" dirty="0">
              <a:solidFill>
                <a:schemeClr val="bg1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6764" y="684836"/>
            <a:ext cx="3700794" cy="221469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4342" y="4514068"/>
            <a:ext cx="3618682" cy="224056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8318" y="3606014"/>
            <a:ext cx="3454699" cy="8738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966" y="12898992"/>
            <a:ext cx="3657607" cy="227381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82393" y="8421925"/>
            <a:ext cx="3810000" cy="3810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66005" y="12845890"/>
            <a:ext cx="2113917" cy="191309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25739" y="11153387"/>
            <a:ext cx="5411810" cy="150328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3435" y="9304974"/>
            <a:ext cx="3444982" cy="344498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1265" y="12190884"/>
            <a:ext cx="3810000" cy="315277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5961" y="699939"/>
            <a:ext cx="2747945" cy="274794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35653" y="6473961"/>
            <a:ext cx="1410288" cy="1941043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3971" y="1792182"/>
            <a:ext cx="4762500" cy="47625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40282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Innovation_Assessment_Tool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9</TotalTime>
  <Words>9</Words>
  <Application>Microsoft Office PowerPoint</Application>
  <PresentationFormat>Custom</PresentationFormat>
  <Paragraphs>1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dheer Veeravalli</dc:creator>
  <cp:lastModifiedBy>Sudheer Veeravalli</cp:lastModifiedBy>
  <cp:revision>34</cp:revision>
  <dcterms:created xsi:type="dcterms:W3CDTF">2017-11-28T03:56:37Z</dcterms:created>
  <dcterms:modified xsi:type="dcterms:W3CDTF">2017-11-30T10:10:22Z</dcterms:modified>
</cp:coreProperties>
</file>